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charts/chart3.xml" ContentType="application/vnd.openxmlformats-officedocument.drawingml.chart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81" r:id="rId3"/>
    <p:sldId id="277" r:id="rId4"/>
    <p:sldId id="290" r:id="rId5"/>
    <p:sldId id="289" r:id="rId6"/>
    <p:sldId id="292" r:id="rId7"/>
    <p:sldId id="291" r:id="rId8"/>
    <p:sldId id="275" r:id="rId9"/>
    <p:sldId id="294" r:id="rId10"/>
    <p:sldId id="293" r:id="rId11"/>
  </p:sldIdLst>
  <p:sldSz cx="10688638" cy="7562850"/>
  <p:notesSz cx="6858000" cy="9144000"/>
  <p:custDataLst>
    <p:tags r:id="rId12"/>
  </p:custDataLst>
  <p:defaultTextStyle>
    <a:defPPr>
      <a:defRPr lang="en-US"/>
    </a:defPPr>
    <a:lvl1pPr marL="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 userDrawn="1">
          <p15:clr>
            <a:srgbClr val="A4A3A4"/>
          </p15:clr>
        </p15:guide>
        <p15:guide id="2" pos="336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2D"/>
    <a:srgbClr val="EFF3EA"/>
    <a:srgbClr val="DEE7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Estilo Claro 2 - Ênfase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Estilo Claro 1 - Ênfase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9237" autoAdjust="0"/>
  </p:normalViewPr>
  <p:slideViewPr>
    <p:cSldViewPr snapToGrid="0" snapToObjects="1">
      <p:cViewPr varScale="1">
        <p:scale>
          <a:sx n="68" d="100"/>
          <a:sy n="68" d="100"/>
        </p:scale>
        <p:origin x="1116" y="60"/>
      </p:cViewPr>
      <p:guideLst>
        <p:guide orient="horz" pos="2382"/>
        <p:guide pos="3367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2348487148129264"/>
          <c:y val="0.22334837472516617"/>
          <c:w val="0.72702130606870408"/>
          <c:h val="0.62601070399546277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R$</c:v>
                </c:pt>
              </c:strCache>
            </c:strRef>
          </c:tx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4"/>
            <c:bubble3D val="0"/>
          </c:dPt>
          <c:dPt>
            <c:idx val="5"/>
            <c:bubble3D val="0"/>
          </c:dPt>
          <c:dPt>
            <c:idx val="6"/>
            <c:bubble3D val="0"/>
          </c:dPt>
          <c:dPt>
            <c:idx val="7"/>
            <c:bubble3D val="0"/>
          </c:dPt>
          <c:dPt>
            <c:idx val="8"/>
            <c:bubble3D val="0"/>
          </c:dPt>
          <c:dPt>
            <c:idx val="9"/>
            <c:bubble3D val="0"/>
          </c:dPt>
          <c:dPt>
            <c:idx val="10"/>
            <c:bubble3D val="0"/>
          </c:dPt>
          <c:dPt>
            <c:idx val="11"/>
            <c:bubble3D val="0"/>
          </c:dPt>
          <c:dLbls>
            <c:dLbl>
              <c:idx val="0"/>
              <c:layout>
                <c:manualLayout>
                  <c:x val="2.8228583475079248E-2"/>
                  <c:y val="-0.2089534958166519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"/>
                  <c:y val="0.1529293010281409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5.9331607878403927E-2"/>
                  <c:y val="-0.10970735411235415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6.1700785249408641E-3"/>
                  <c:y val="-9.6503016570043482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.17493414221487788"/>
                  <c:y val="-6.1841331347616692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4.8903598921683479E-2"/>
                  <c:y val="-7.3107834660784535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6.428842274343026E-2"/>
                  <c:y val="-0.13125574745126314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1.6648599256963843E-2"/>
                  <c:y val="-9.2629565245728684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6.160686585578546E-2"/>
                  <c:y val="-0.1103856889863812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.14967772783157976"/>
                  <c:y val="-4.400396351367728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0.11341548473908414"/>
                  <c:y val="-4.926514093794332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0.12386637079675476"/>
                  <c:y val="6.952239252838973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000"/>
                </a:pPr>
                <a:endParaRPr lang="pt-BR"/>
              </a:p>
            </c:txPr>
            <c:dLblPos val="bestFit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6</c:f>
              <c:strCache>
                <c:ptCount val="5"/>
                <c:pt idx="0">
                  <c:v>LIZA</c:v>
                </c:pt>
                <c:pt idx="1">
                  <c:v>POMAROLA</c:v>
                </c:pt>
                <c:pt idx="2">
                  <c:v>ELEFANTE</c:v>
                </c:pt>
                <c:pt idx="3">
                  <c:v>CARGILL</c:v>
                </c:pt>
                <c:pt idx="4">
                  <c:v>MARIA</c:v>
                </c:pt>
              </c:strCache>
            </c:strRef>
          </c:cat>
          <c:val>
            <c:numRef>
              <c:f>Plan1!$B$2:$B$6</c:f>
              <c:numCache>
                <c:formatCode>_-[$R$-416]\ * #,##0.0_-;\-[$R$-416]\ * #,##0.0_-;_-[$R$-416]\ * "-"??_-;_-@_-</c:formatCode>
                <c:ptCount val="5"/>
                <c:pt idx="0">
                  <c:v>3.8831883332144557</c:v>
                </c:pt>
                <c:pt idx="1">
                  <c:v>2.8563362552822711</c:v>
                </c:pt>
                <c:pt idx="2">
                  <c:v>0.82309240165805786</c:v>
                </c:pt>
                <c:pt idx="3">
                  <c:v>0.11365760070800786</c:v>
                </c:pt>
                <c:pt idx="4">
                  <c:v>3.0239999389648472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400">
          <a:latin typeface="Eras Demi ITC" panose="020B0805030504020804" pitchFamily="34" charset="0"/>
        </a:defRPr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2348487148129264"/>
          <c:y val="0.22334837472516617"/>
          <c:w val="0.72702130606870408"/>
          <c:h val="0.62601070399546277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R$</c:v>
                </c:pt>
              </c:strCache>
            </c:strRef>
          </c:tx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4"/>
            <c:bubble3D val="0"/>
          </c:dPt>
          <c:dPt>
            <c:idx val="5"/>
            <c:bubble3D val="0"/>
          </c:dPt>
          <c:dPt>
            <c:idx val="6"/>
            <c:bubble3D val="0"/>
          </c:dPt>
          <c:dPt>
            <c:idx val="7"/>
            <c:bubble3D val="0"/>
          </c:dPt>
          <c:dPt>
            <c:idx val="8"/>
            <c:bubble3D val="0"/>
          </c:dPt>
          <c:dPt>
            <c:idx val="9"/>
            <c:bubble3D val="0"/>
          </c:dPt>
          <c:dPt>
            <c:idx val="10"/>
            <c:bubble3D val="0"/>
          </c:dPt>
          <c:dPt>
            <c:idx val="11"/>
            <c:bubble3D val="0"/>
          </c:dPt>
          <c:dLbls>
            <c:dLbl>
              <c:idx val="0"/>
              <c:layout>
                <c:manualLayout>
                  <c:x val="9.6667653195199113E-2"/>
                  <c:y val="-5.3232902662587532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1.6425376732828744E-2"/>
                  <c:y val="5.256783916891895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9.4919924132866207E-2"/>
                  <c:y val="-4.8328246380445042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6.1700785249408138E-3"/>
                  <c:y val="-6.6106952262023649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.17493414221487799"/>
                  <c:y val="-4.2843791155104304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4.8903598921683479E-2"/>
                  <c:y val="-7.3107834660784535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6.428842274343026E-2"/>
                  <c:y val="-0.13125574745126314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1.6648599256963843E-2"/>
                  <c:y val="-9.2629565245728684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6.160686585578546E-2"/>
                  <c:y val="-0.1103856889863812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.14967772783157976"/>
                  <c:y val="-4.400396351367728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0.11341548473908414"/>
                  <c:y val="-4.926514093794332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0.12386637079675476"/>
                  <c:y val="6.952239252838973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000"/>
                </a:pPr>
                <a:endParaRPr lang="pt-BR"/>
              </a:p>
            </c:txPr>
            <c:dLblPos val="bestFit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6</c:f>
              <c:strCache>
                <c:ptCount val="5"/>
                <c:pt idx="0">
                  <c:v>LIZA</c:v>
                </c:pt>
                <c:pt idx="1">
                  <c:v>POMAROLA</c:v>
                </c:pt>
                <c:pt idx="2">
                  <c:v>ELEFANTE</c:v>
                </c:pt>
                <c:pt idx="3">
                  <c:v>CARGILL</c:v>
                </c:pt>
                <c:pt idx="4">
                  <c:v>MARIA</c:v>
                </c:pt>
              </c:strCache>
            </c:strRef>
          </c:cat>
          <c:val>
            <c:numRef>
              <c:f>Plan1!$B$2:$B$6</c:f>
              <c:numCache>
                <c:formatCode>_-[$R$-416]\ * #,##0.0_-;\-[$R$-416]\ * #,##0.0_-;_-[$R$-416]\ * "-"??_-;_-@_-</c:formatCode>
                <c:ptCount val="5"/>
                <c:pt idx="0">
                  <c:v>0.61122240570068354</c:v>
                </c:pt>
                <c:pt idx="1">
                  <c:v>1.9611315928611743</c:v>
                </c:pt>
                <c:pt idx="2">
                  <c:v>0.26174047924280142</c:v>
                </c:pt>
                <c:pt idx="3">
                  <c:v>3.6252800292968783E-2</c:v>
                </c:pt>
                <c:pt idx="4">
                  <c:v>1.0844799804687505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400">
          <a:latin typeface="Eras Demi ITC" panose="020B0805030504020804" pitchFamily="34" charset="0"/>
        </a:defRPr>
      </a:pPr>
      <a:endParaRPr lang="pt-B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997288217357625E-2"/>
          <c:y val="7.7004778968787812E-3"/>
          <c:w val="0.97831316566925741"/>
          <c:h val="0.7862243694960319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Share de Investimento</c:v>
                </c:pt>
              </c:strCache>
            </c:strRef>
          </c:tx>
          <c:spPr>
            <a:solidFill>
              <a:srgbClr val="00642D"/>
            </a:solidFill>
          </c:spPr>
          <c:invertIfNegative val="0"/>
          <c:dLbls>
            <c:dLbl>
              <c:idx val="0"/>
              <c:layout>
                <c:manualLayout>
                  <c:x val="5.6310725242235881E-3"/>
                  <c:y val="1.02768379248656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400" b="0">
                      <a:solidFill>
                        <a:schemeClr val="bg1"/>
                      </a:solidFill>
                      <a:latin typeface="Eras Demi ITC" panose="020B0805030504020804" pitchFamily="34" charset="0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8.4466087863352794E-3"/>
                  <c:y val="9.921617989670043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400" b="0">
                      <a:solidFill>
                        <a:schemeClr val="bg1"/>
                      </a:solidFill>
                      <a:latin typeface="Eras Demi ITC" panose="020B0805030504020804" pitchFamily="34" charset="0"/>
                    </a:defRPr>
                  </a:pPr>
                  <a:endParaRPr lang="pt-B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400" b="0">
                      <a:solidFill>
                        <a:schemeClr val="bg1"/>
                      </a:solidFill>
                      <a:latin typeface="Eras Demi ITC" panose="020B0805030504020804" pitchFamily="34" charset="0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0">
                    <a:solidFill>
                      <a:schemeClr val="tx1"/>
                    </a:solidFill>
                    <a:latin typeface="Eras Demi ITC" panose="020B0805030504020804" pitchFamily="34" charset="0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1!$A$2:$A$5</c:f>
              <c:strCache>
                <c:ptCount val="4"/>
                <c:pt idx="0">
                  <c:v>BAND TV</c:v>
                </c:pt>
                <c:pt idx="1">
                  <c:v>GLOBO</c:v>
                </c:pt>
                <c:pt idx="2">
                  <c:v>RECORD</c:v>
                </c:pt>
                <c:pt idx="3">
                  <c:v>SBT</c:v>
                </c:pt>
              </c:strCache>
            </c:strRef>
          </c:cat>
          <c:val>
            <c:numRef>
              <c:f>Plan1!$B$2:$B$5</c:f>
              <c:numCache>
                <c:formatCode>0%</c:formatCode>
                <c:ptCount val="4"/>
                <c:pt idx="1">
                  <c:v>0.78898539840115001</c:v>
                </c:pt>
                <c:pt idx="2" formatCode="0.0%">
                  <c:v>0.11196142286386057</c:v>
                </c:pt>
                <c:pt idx="3" formatCode="0.0%">
                  <c:v>9.9053178734989297E-2</c:v>
                </c:pt>
              </c:numCache>
            </c:numRef>
          </c:val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Share de Audiência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dLbl>
              <c:idx val="0"/>
              <c:layout>
                <c:manualLayout>
                  <c:x val="9.854376917391253E-3"/>
                  <c:y val="6.5023106481134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0">
                    <a:solidFill>
                      <a:schemeClr val="tx1"/>
                    </a:solidFill>
                    <a:latin typeface="Eras Demi ITC" panose="020B0805030504020804" pitchFamily="34" charset="0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1!$A$2:$A$5</c:f>
              <c:strCache>
                <c:ptCount val="4"/>
                <c:pt idx="0">
                  <c:v>BAND TV</c:v>
                </c:pt>
                <c:pt idx="1">
                  <c:v>GLOBO</c:v>
                </c:pt>
                <c:pt idx="2">
                  <c:v>RECORD</c:v>
                </c:pt>
                <c:pt idx="3">
                  <c:v>SBT</c:v>
                </c:pt>
              </c:strCache>
            </c:strRef>
          </c:cat>
          <c:val>
            <c:numRef>
              <c:f>Plan1!$C$2:$C$5</c:f>
              <c:numCache>
                <c:formatCode>0.0%</c:formatCode>
                <c:ptCount val="4"/>
                <c:pt idx="0">
                  <c:v>5.0087E-2</c:v>
                </c:pt>
                <c:pt idx="1">
                  <c:v>0.36145899999999997</c:v>
                </c:pt>
                <c:pt idx="2">
                  <c:v>0.122811</c:v>
                </c:pt>
                <c:pt idx="3">
                  <c:v>0.1277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"/>
        <c:axId val="500480576"/>
        <c:axId val="500481136"/>
      </c:barChart>
      <c:scatterChart>
        <c:scatterStyle val="lineMarker"/>
        <c:varyColors val="0"/>
        <c:ser>
          <c:idx val="2"/>
          <c:order val="2"/>
          <c:tx>
            <c:strRef>
              <c:f>Plan1!$D$1</c:f>
              <c:strCache>
                <c:ptCount val="1"/>
                <c:pt idx="0">
                  <c:v>Índice</c:v>
                </c:pt>
              </c:strCache>
            </c:strRef>
          </c:tx>
          <c:spPr>
            <a:ln w="28575">
              <a:noFill/>
            </a:ln>
          </c:spPr>
          <c:marker>
            <c:symbol val="circle"/>
            <c:size val="17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1"/>
              <c:layout>
                <c:manualLayout>
                  <c:x val="-1.8405995710713153E-2"/>
                  <c:y val="-5.766946014693834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0">
                    <a:solidFill>
                      <a:schemeClr val="tx1"/>
                    </a:solidFill>
                    <a:latin typeface="Eras Demi ITC" panose="020B0805030504020804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Plan1!$A$2:$A$5</c:f>
              <c:strCache>
                <c:ptCount val="4"/>
                <c:pt idx="0">
                  <c:v>BAND TV</c:v>
                </c:pt>
                <c:pt idx="1">
                  <c:v>GLOBO</c:v>
                </c:pt>
                <c:pt idx="2">
                  <c:v>RECORD</c:v>
                </c:pt>
                <c:pt idx="3">
                  <c:v>SBT</c:v>
                </c:pt>
              </c:strCache>
            </c:strRef>
          </c:xVal>
          <c:yVal>
            <c:numRef>
              <c:f>Plan1!$D$2:$D$5</c:f>
              <c:numCache>
                <c:formatCode>0</c:formatCode>
                <c:ptCount val="4"/>
                <c:pt idx="0">
                  <c:v>0</c:v>
                </c:pt>
                <c:pt idx="1">
                  <c:v>218.27797852623675</c:v>
                </c:pt>
                <c:pt idx="2">
                  <c:v>91.165630817972797</c:v>
                </c:pt>
                <c:pt idx="3">
                  <c:v>77.553125697790762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00478896"/>
        <c:axId val="500480016"/>
      </c:scatterChart>
      <c:catAx>
        <c:axId val="5004805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 b="0">
                <a:latin typeface="Eras Demi ITC" panose="020B0805030504020804" pitchFamily="34" charset="0"/>
              </a:defRPr>
            </a:pPr>
            <a:endParaRPr lang="pt-BR"/>
          </a:p>
        </c:txPr>
        <c:crossAx val="500481136"/>
        <c:crosses val="autoZero"/>
        <c:auto val="1"/>
        <c:lblAlgn val="ctr"/>
        <c:lblOffset val="100"/>
        <c:noMultiLvlLbl val="0"/>
      </c:catAx>
      <c:valAx>
        <c:axId val="500481136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spPr>
          <a:solidFill>
            <a:schemeClr val="bg1"/>
          </a:solidFill>
          <a:ln>
            <a:solidFill>
              <a:schemeClr val="bg1"/>
            </a:solidFill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pt-BR"/>
          </a:p>
        </c:txPr>
        <c:crossAx val="500480576"/>
        <c:crosses val="autoZero"/>
        <c:crossBetween val="between"/>
      </c:valAx>
      <c:valAx>
        <c:axId val="500480016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ln>
            <a:solidFill>
              <a:schemeClr val="bg1"/>
            </a:solidFill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pt-BR"/>
          </a:p>
        </c:txPr>
        <c:crossAx val="500478896"/>
        <c:crosses val="max"/>
        <c:crossBetween val="midCat"/>
      </c:valAx>
      <c:valAx>
        <c:axId val="500478896"/>
        <c:scaling>
          <c:orientation val="minMax"/>
        </c:scaling>
        <c:delete val="1"/>
        <c:axPos val="b"/>
        <c:majorTickMark val="out"/>
        <c:minorTickMark val="none"/>
        <c:tickLblPos val="nextTo"/>
        <c:crossAx val="500480016"/>
        <c:crosses val="autoZero"/>
        <c:crossBetween val="midCat"/>
      </c:valAx>
    </c:plotArea>
    <c:legend>
      <c:legendPos val="b"/>
      <c:layout>
        <c:manualLayout>
          <c:xMode val="edge"/>
          <c:yMode val="edge"/>
          <c:x val="0.12267524274578191"/>
          <c:y val="0.91960429955767564"/>
          <c:w val="0.75327019804667261"/>
          <c:h val="7.8521905051894741E-2"/>
        </c:manualLayout>
      </c:layout>
      <c:overlay val="0"/>
      <c:txPr>
        <a:bodyPr/>
        <a:lstStyle/>
        <a:p>
          <a:pPr>
            <a:defRPr sz="1800" b="0">
              <a:latin typeface="Eras Medium ITC" panose="020B0602030504020804" pitchFamily="34" charset="0"/>
            </a:defRPr>
          </a:pPr>
          <a:endParaRPr lang="pt-BR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pt-BR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0CEA4A7-15A8-4BDC-A5DA-26E802DBC97C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pt-BR"/>
        </a:p>
      </dgm:t>
    </dgm:pt>
    <dgm:pt modelId="{C0C56992-C037-4FE7-96DA-4AF9CAE6ADF9}">
      <dgm:prSet phldrT="[Texto]"/>
      <dgm:spPr/>
      <dgm:t>
        <a:bodyPr/>
        <a:lstStyle/>
        <a:p>
          <a:pPr algn="ctr"/>
          <a:r>
            <a:rPr lang="pt-BR" b="0" dirty="0" smtClean="0">
              <a:latin typeface="Eras Medium ITC" panose="020B0602030504020804" pitchFamily="34" charset="0"/>
            </a:rPr>
            <a:t>Em 2013 o investimento da Cargill com a Band TV foi de R$ 101 mil (1,5% de participação)</a:t>
          </a:r>
          <a:endParaRPr lang="pt-BR" b="0" dirty="0">
            <a:latin typeface="Eras Medium ITC" panose="020B0602030504020804" pitchFamily="34" charset="0"/>
          </a:endParaRPr>
        </a:p>
      </dgm:t>
    </dgm:pt>
    <dgm:pt modelId="{BB612B97-914E-46FC-BB93-06C4CAE6B036}" type="sibTrans" cxnId="{910CFF8E-F643-4097-BFD7-E3CA997B2ABB}">
      <dgm:prSet/>
      <dgm:spPr/>
      <dgm:t>
        <a:bodyPr/>
        <a:lstStyle/>
        <a:p>
          <a:endParaRPr lang="pt-BR">
            <a:latin typeface="Eras Medium ITC" panose="020B0602030504020804" pitchFamily="34" charset="0"/>
          </a:endParaRPr>
        </a:p>
      </dgm:t>
    </dgm:pt>
    <dgm:pt modelId="{161B2474-B338-4290-9B97-0272664DA8BE}" type="parTrans" cxnId="{910CFF8E-F643-4097-BFD7-E3CA997B2ABB}">
      <dgm:prSet/>
      <dgm:spPr/>
      <dgm:t>
        <a:bodyPr/>
        <a:lstStyle/>
        <a:p>
          <a:endParaRPr lang="pt-BR">
            <a:latin typeface="Eras Medium ITC" panose="020B0602030504020804" pitchFamily="34" charset="0"/>
          </a:endParaRPr>
        </a:p>
      </dgm:t>
    </dgm:pt>
    <dgm:pt modelId="{FB3F7E24-C406-4D9F-8962-599D1159BCEE}" type="pres">
      <dgm:prSet presAssocID="{30CEA4A7-15A8-4BDC-A5DA-26E802DBC97C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BABD0F0-A45C-434B-9FD6-DCB9060DAA65}" type="pres">
      <dgm:prSet presAssocID="{C0C56992-C037-4FE7-96DA-4AF9CAE6ADF9}" presName="node" presStyleLbl="node1" presStyleIdx="0" presStyleCnt="1" custLinFactNeighborX="510" custLinFactNeighborY="-87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910CFF8E-F643-4097-BFD7-E3CA997B2ABB}" srcId="{30CEA4A7-15A8-4BDC-A5DA-26E802DBC97C}" destId="{C0C56992-C037-4FE7-96DA-4AF9CAE6ADF9}" srcOrd="0" destOrd="0" parTransId="{161B2474-B338-4290-9B97-0272664DA8BE}" sibTransId="{BB612B97-914E-46FC-BB93-06C4CAE6B036}"/>
    <dgm:cxn modelId="{5CF46B21-3C90-47A5-81AE-E80120FE9834}" type="presOf" srcId="{30CEA4A7-15A8-4BDC-A5DA-26E802DBC97C}" destId="{FB3F7E24-C406-4D9F-8962-599D1159BCEE}" srcOrd="0" destOrd="0" presId="urn:microsoft.com/office/officeart/2005/8/layout/default"/>
    <dgm:cxn modelId="{F9E42A86-CDE0-4C0B-9C9F-1D3FC3633D5A}" type="presOf" srcId="{C0C56992-C037-4FE7-96DA-4AF9CAE6ADF9}" destId="{BBABD0F0-A45C-434B-9FD6-DCB9060DAA65}" srcOrd="0" destOrd="0" presId="urn:microsoft.com/office/officeart/2005/8/layout/default"/>
    <dgm:cxn modelId="{4827E56E-25B7-4751-82FF-F269BB3363F1}" type="presParOf" srcId="{FB3F7E24-C406-4D9F-8962-599D1159BCEE}" destId="{BBABD0F0-A45C-434B-9FD6-DCB9060DAA65}" srcOrd="0" destOrd="0" presId="urn:microsoft.com/office/officeart/2005/8/layout/default"/>
  </dgm:cxnLst>
  <dgm:bg>
    <a:solidFill>
      <a:srgbClr val="FFC000"/>
    </a:solidFill>
  </dgm:bg>
  <dgm:whole/>
  <dgm:extLst>
    <a:ext uri="http://schemas.microsoft.com/office/drawing/2008/diagram">
      <dsp:dataModelExt xmlns:dsp="http://schemas.microsoft.com/office/drawing/2008/diagram" relId="rId3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ABD0F0-A45C-434B-9FD6-DCB9060DAA65}">
      <dsp:nvSpPr>
        <dsp:cNvPr id="0" name=""/>
        <dsp:cNvSpPr/>
      </dsp:nvSpPr>
      <dsp:spPr>
        <a:xfrm>
          <a:off x="0" y="2"/>
          <a:ext cx="2817287" cy="1690372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100" b="0" kern="1200" dirty="0" smtClean="0">
              <a:latin typeface="Eras Medium ITC" panose="020B0602030504020804" pitchFamily="34" charset="0"/>
            </a:rPr>
            <a:t>Em 2013 o investimento da Cargill com a Band TV foi de R$ 101 mil (1,5% de participação)</a:t>
          </a:r>
          <a:endParaRPr lang="pt-BR" sz="2100" b="0" kern="1200" dirty="0">
            <a:latin typeface="Eras Medium ITC" panose="020B0602030504020804" pitchFamily="34" charset="0"/>
          </a:endParaRPr>
        </a:p>
      </dsp:txBody>
      <dsp:txXfrm>
        <a:off x="0" y="2"/>
        <a:ext cx="2817287" cy="16903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image" Target="../media/image9.emf"/><Relationship Id="rId4" Type="http://schemas.openxmlformats.org/officeDocument/2006/relationships/image" Target="../media/image1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649" y="2349390"/>
            <a:ext cx="9085342" cy="162111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3298" y="4285615"/>
            <a:ext cx="7482047" cy="19327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6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844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872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59364" y="334377"/>
            <a:ext cx="2809479" cy="7116431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5363" y="334377"/>
            <a:ext cx="8255859" cy="7116431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5924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7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329" y="4859832"/>
            <a:ext cx="9085342" cy="150206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329" y="3205463"/>
            <a:ext cx="9085342" cy="1654373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13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2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6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0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4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498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341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5362" y="1946734"/>
            <a:ext cx="5531741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5247" y="1946734"/>
            <a:ext cx="5533597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3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226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2" y="302869"/>
            <a:ext cx="9619774" cy="1260475"/>
          </a:xfrm>
        </p:spPr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4" y="1692893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13" indent="0">
              <a:buNone/>
              <a:defRPr sz="2300" b="1"/>
            </a:lvl2pPr>
            <a:lvl3pPr marL="1042826" indent="0">
              <a:buNone/>
              <a:defRPr sz="2100" b="1"/>
            </a:lvl3pPr>
            <a:lvl4pPr marL="1564240" indent="0">
              <a:buNone/>
              <a:defRPr sz="1800" b="1"/>
            </a:lvl4pPr>
            <a:lvl5pPr marL="2085653" indent="0">
              <a:buNone/>
              <a:defRPr sz="1800" b="1"/>
            </a:lvl5pPr>
            <a:lvl6pPr marL="2607065" indent="0">
              <a:buNone/>
              <a:defRPr sz="1800" b="1"/>
            </a:lvl6pPr>
            <a:lvl7pPr marL="3128478" indent="0">
              <a:buNone/>
              <a:defRPr sz="1800" b="1"/>
            </a:lvl7pPr>
            <a:lvl8pPr marL="3649892" indent="0">
              <a:buNone/>
              <a:defRPr sz="1800" b="1"/>
            </a:lvl8pPr>
            <a:lvl9pPr marL="4171305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434" y="2398408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29681" y="1692893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13" indent="0">
              <a:buNone/>
              <a:defRPr sz="2300" b="1"/>
            </a:lvl2pPr>
            <a:lvl3pPr marL="1042826" indent="0">
              <a:buNone/>
              <a:defRPr sz="2100" b="1"/>
            </a:lvl3pPr>
            <a:lvl4pPr marL="1564240" indent="0">
              <a:buNone/>
              <a:defRPr sz="1800" b="1"/>
            </a:lvl4pPr>
            <a:lvl5pPr marL="2085653" indent="0">
              <a:buNone/>
              <a:defRPr sz="1800" b="1"/>
            </a:lvl5pPr>
            <a:lvl6pPr marL="2607065" indent="0">
              <a:buNone/>
              <a:defRPr sz="1800" b="1"/>
            </a:lvl6pPr>
            <a:lvl7pPr marL="3128478" indent="0">
              <a:buNone/>
              <a:defRPr sz="1800" b="1"/>
            </a:lvl7pPr>
            <a:lvl8pPr marL="3649892" indent="0">
              <a:buNone/>
              <a:defRPr sz="1800" b="1"/>
            </a:lvl8pPr>
            <a:lvl9pPr marL="4171305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29681" y="2398408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3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95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3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8221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046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4" y="301117"/>
            <a:ext cx="3516487" cy="1281483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8960" y="301118"/>
            <a:ext cx="5975246" cy="6454683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434" y="1582597"/>
            <a:ext cx="3516487" cy="5173200"/>
          </a:xfrm>
        </p:spPr>
        <p:txBody>
          <a:bodyPr/>
          <a:lstStyle>
            <a:lvl1pPr marL="0" indent="0">
              <a:buNone/>
              <a:defRPr sz="1600"/>
            </a:lvl1pPr>
            <a:lvl2pPr marL="521413" indent="0">
              <a:buNone/>
              <a:defRPr sz="1400"/>
            </a:lvl2pPr>
            <a:lvl3pPr marL="1042826" indent="0">
              <a:buNone/>
              <a:defRPr sz="1100"/>
            </a:lvl3pPr>
            <a:lvl4pPr marL="1564240" indent="0">
              <a:buNone/>
              <a:defRPr sz="1000"/>
            </a:lvl4pPr>
            <a:lvl5pPr marL="2085653" indent="0">
              <a:buNone/>
              <a:defRPr sz="1000"/>
            </a:lvl5pPr>
            <a:lvl6pPr marL="2607065" indent="0">
              <a:buNone/>
              <a:defRPr sz="1000"/>
            </a:lvl6pPr>
            <a:lvl7pPr marL="3128478" indent="0">
              <a:buNone/>
              <a:defRPr sz="1000"/>
            </a:lvl7pPr>
            <a:lvl8pPr marL="3649892" indent="0">
              <a:buNone/>
              <a:defRPr sz="1000"/>
            </a:lvl8pPr>
            <a:lvl9pPr marL="4171305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3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242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049" y="5293995"/>
            <a:ext cx="6413183" cy="62498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049" y="675755"/>
            <a:ext cx="6413183" cy="4537710"/>
          </a:xfrm>
        </p:spPr>
        <p:txBody>
          <a:bodyPr/>
          <a:lstStyle>
            <a:lvl1pPr marL="0" indent="0">
              <a:buNone/>
              <a:defRPr sz="3600"/>
            </a:lvl1pPr>
            <a:lvl2pPr marL="521413" indent="0">
              <a:buNone/>
              <a:defRPr sz="3200"/>
            </a:lvl2pPr>
            <a:lvl3pPr marL="1042826" indent="0">
              <a:buNone/>
              <a:defRPr sz="2700"/>
            </a:lvl3pPr>
            <a:lvl4pPr marL="1564240" indent="0">
              <a:buNone/>
              <a:defRPr sz="2300"/>
            </a:lvl4pPr>
            <a:lvl5pPr marL="2085653" indent="0">
              <a:buNone/>
              <a:defRPr sz="2300"/>
            </a:lvl5pPr>
            <a:lvl6pPr marL="2607065" indent="0">
              <a:buNone/>
              <a:defRPr sz="2300"/>
            </a:lvl6pPr>
            <a:lvl7pPr marL="3128478" indent="0">
              <a:buNone/>
              <a:defRPr sz="2300"/>
            </a:lvl7pPr>
            <a:lvl8pPr marL="3649892" indent="0">
              <a:buNone/>
              <a:defRPr sz="2300"/>
            </a:lvl8pPr>
            <a:lvl9pPr marL="4171305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049" y="5918981"/>
            <a:ext cx="6413183" cy="887584"/>
          </a:xfrm>
        </p:spPr>
        <p:txBody>
          <a:bodyPr/>
          <a:lstStyle>
            <a:lvl1pPr marL="0" indent="0">
              <a:buNone/>
              <a:defRPr sz="1600"/>
            </a:lvl1pPr>
            <a:lvl2pPr marL="521413" indent="0">
              <a:buNone/>
              <a:defRPr sz="1400"/>
            </a:lvl2pPr>
            <a:lvl3pPr marL="1042826" indent="0">
              <a:buNone/>
              <a:defRPr sz="1100"/>
            </a:lvl3pPr>
            <a:lvl4pPr marL="1564240" indent="0">
              <a:buNone/>
              <a:defRPr sz="1000"/>
            </a:lvl4pPr>
            <a:lvl5pPr marL="2085653" indent="0">
              <a:buNone/>
              <a:defRPr sz="1000"/>
            </a:lvl5pPr>
            <a:lvl6pPr marL="2607065" indent="0">
              <a:buNone/>
              <a:defRPr sz="1000"/>
            </a:lvl6pPr>
            <a:lvl7pPr marL="3128478" indent="0">
              <a:buNone/>
              <a:defRPr sz="1000"/>
            </a:lvl7pPr>
            <a:lvl8pPr marL="3649892" indent="0">
              <a:buNone/>
              <a:defRPr sz="1000"/>
            </a:lvl8pPr>
            <a:lvl9pPr marL="4171305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3/23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780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7100711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" name="Slide do think-cell" r:id="rId15" imgW="270" imgH="270" progId="TCLayout.ActiveDocument.1">
                  <p:embed/>
                </p:oleObj>
              </mc:Choice>
              <mc:Fallback>
                <p:oleObj name="Slide do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432" y="302869"/>
            <a:ext cx="9619774" cy="1260475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764670"/>
            <a:ext cx="9619774" cy="4991131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432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43F105-2278-3846-BF6D-56A38DBB0301}" type="datetimeFigureOut">
              <a:rPr lang="en-US" smtClean="0"/>
              <a:t>3/2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1954" y="7009642"/>
            <a:ext cx="3384735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0191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6" descr="OLHO BAND copy.png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0852" y="198438"/>
            <a:ext cx="893763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m 8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29"/>
            <a:ext cx="10688638" cy="7556392"/>
          </a:xfrm>
          <a:prstGeom prst="rect">
            <a:avLst/>
          </a:prstGeom>
        </p:spPr>
      </p:pic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31512" y="7123942"/>
            <a:ext cx="4239274" cy="402652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 err="1" smtClean="0">
                <a:latin typeface="Eras Demi ITC" panose="020B0805030504020804" pitchFamily="34" charset="0"/>
              </a:rPr>
              <a:t>Inteligência</a:t>
            </a:r>
            <a:r>
              <a:rPr lang="en-US" sz="1400" dirty="0" smtClean="0">
                <a:latin typeface="Eras Demi ITC" panose="020B0805030504020804" pitchFamily="34" charset="0"/>
              </a:rPr>
              <a:t> de Mercado </a:t>
            </a:r>
            <a:r>
              <a:rPr lang="en-US" sz="1400" dirty="0" err="1" smtClean="0">
                <a:latin typeface="Eras Demi ITC" panose="020B0805030504020804" pitchFamily="34" charset="0"/>
              </a:rPr>
              <a:t>Grupo</a:t>
            </a:r>
            <a:r>
              <a:rPr lang="en-US" sz="1400" dirty="0" smtClean="0">
                <a:latin typeface="Eras Demi ITC" panose="020B0805030504020804" pitchFamily="34" charset="0"/>
              </a:rPr>
              <a:t> </a:t>
            </a:r>
            <a:r>
              <a:rPr lang="en-US" sz="1400" dirty="0" err="1" smtClean="0">
                <a:latin typeface="Eras Demi ITC" panose="020B0805030504020804" pitchFamily="34" charset="0"/>
              </a:rPr>
              <a:t>Bandeirantes</a:t>
            </a:r>
            <a:endParaRPr lang="en-US" sz="1400" dirty="0">
              <a:latin typeface="Eras Demi ITC" panose="020B0805030504020804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68" y="209914"/>
            <a:ext cx="1068305" cy="504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327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521413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60" indent="-391060" algn="l" defTabSz="521413" rtl="0" eaLnBrk="1" latinLnBrk="0" hangingPunct="1">
        <a:spcBef>
          <a:spcPct val="20000"/>
        </a:spcBef>
        <a:buFont typeface="Arial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7297" indent="-325883" algn="l" defTabSz="521413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34" indent="-260706" algn="l" defTabSz="52141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4946" indent="-260706" algn="l" defTabSz="521413" rtl="0" eaLnBrk="1" latinLnBrk="0" hangingPunct="1">
        <a:spcBef>
          <a:spcPct val="20000"/>
        </a:spcBef>
        <a:buFont typeface="Arial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359" indent="-260706" algn="l" defTabSz="521413" rtl="0" eaLnBrk="1" latinLnBrk="0" hangingPunct="1">
        <a:spcBef>
          <a:spcPct val="20000"/>
        </a:spcBef>
        <a:buFont typeface="Arial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772" indent="-260706" algn="l" defTabSz="52141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185" indent="-260706" algn="l" defTabSz="52141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599" indent="-260706" algn="l" defTabSz="52141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012" indent="-260706" algn="l" defTabSz="52141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2141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13" algn="l" defTabSz="52141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26" algn="l" defTabSz="52141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240" algn="l" defTabSz="52141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653" algn="l" defTabSz="52141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065" algn="l" defTabSz="52141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478" algn="l" defTabSz="52141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892" algn="l" defTabSz="52141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305" algn="l" defTabSz="52141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111.xml"/><Relationship Id="rId18" Type="http://schemas.openxmlformats.org/officeDocument/2006/relationships/tags" Target="../tags/tag116.xml"/><Relationship Id="rId26" Type="http://schemas.openxmlformats.org/officeDocument/2006/relationships/oleObject" Target="../embeddings/oleObject11.bin"/><Relationship Id="rId3" Type="http://schemas.openxmlformats.org/officeDocument/2006/relationships/tags" Target="../tags/tag101.xml"/><Relationship Id="rId21" Type="http://schemas.openxmlformats.org/officeDocument/2006/relationships/tags" Target="../tags/tag119.xml"/><Relationship Id="rId7" Type="http://schemas.openxmlformats.org/officeDocument/2006/relationships/tags" Target="../tags/tag105.xml"/><Relationship Id="rId12" Type="http://schemas.openxmlformats.org/officeDocument/2006/relationships/tags" Target="../tags/tag110.xml"/><Relationship Id="rId17" Type="http://schemas.openxmlformats.org/officeDocument/2006/relationships/tags" Target="../tags/tag115.xml"/><Relationship Id="rId25" Type="http://schemas.openxmlformats.org/officeDocument/2006/relationships/slideLayout" Target="../slideLayouts/slideLayout7.xml"/><Relationship Id="rId33" Type="http://schemas.openxmlformats.org/officeDocument/2006/relationships/image" Target="../media/image12.emf"/><Relationship Id="rId2" Type="http://schemas.openxmlformats.org/officeDocument/2006/relationships/tags" Target="../tags/tag100.xml"/><Relationship Id="rId16" Type="http://schemas.openxmlformats.org/officeDocument/2006/relationships/tags" Target="../tags/tag114.xml"/><Relationship Id="rId20" Type="http://schemas.openxmlformats.org/officeDocument/2006/relationships/tags" Target="../tags/tag118.xml"/><Relationship Id="rId29" Type="http://schemas.openxmlformats.org/officeDocument/2006/relationships/image" Target="../media/image10.emf"/><Relationship Id="rId1" Type="http://schemas.openxmlformats.org/officeDocument/2006/relationships/vmlDrawing" Target="../drawings/vmlDrawing8.vml"/><Relationship Id="rId6" Type="http://schemas.openxmlformats.org/officeDocument/2006/relationships/tags" Target="../tags/tag104.xml"/><Relationship Id="rId11" Type="http://schemas.openxmlformats.org/officeDocument/2006/relationships/tags" Target="../tags/tag109.xml"/><Relationship Id="rId24" Type="http://schemas.openxmlformats.org/officeDocument/2006/relationships/tags" Target="../tags/tag122.xml"/><Relationship Id="rId32" Type="http://schemas.openxmlformats.org/officeDocument/2006/relationships/oleObject" Target="../embeddings/oleObject14.bin"/><Relationship Id="rId5" Type="http://schemas.openxmlformats.org/officeDocument/2006/relationships/tags" Target="../tags/tag103.xml"/><Relationship Id="rId15" Type="http://schemas.openxmlformats.org/officeDocument/2006/relationships/tags" Target="../tags/tag113.xml"/><Relationship Id="rId23" Type="http://schemas.openxmlformats.org/officeDocument/2006/relationships/tags" Target="../tags/tag121.xml"/><Relationship Id="rId28" Type="http://schemas.openxmlformats.org/officeDocument/2006/relationships/oleObject" Target="../embeddings/oleObject12.bin"/><Relationship Id="rId10" Type="http://schemas.openxmlformats.org/officeDocument/2006/relationships/tags" Target="../tags/tag108.xml"/><Relationship Id="rId19" Type="http://schemas.openxmlformats.org/officeDocument/2006/relationships/tags" Target="../tags/tag117.xml"/><Relationship Id="rId31" Type="http://schemas.openxmlformats.org/officeDocument/2006/relationships/image" Target="../media/image11.emf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openxmlformats.org/officeDocument/2006/relationships/tags" Target="../tags/tag112.xml"/><Relationship Id="rId22" Type="http://schemas.openxmlformats.org/officeDocument/2006/relationships/tags" Target="../tags/tag120.xml"/><Relationship Id="rId27" Type="http://schemas.openxmlformats.org/officeDocument/2006/relationships/image" Target="../media/image9.emf"/><Relationship Id="rId30" Type="http://schemas.openxmlformats.org/officeDocument/2006/relationships/oleObject" Target="../embeddings/oleObject13.bin"/><Relationship Id="rId8" Type="http://schemas.openxmlformats.org/officeDocument/2006/relationships/tags" Target="../tags/tag10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oleObject" Target="../embeddings/oleObject4.bin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oleObject" Target="../embeddings/oleObject3.bin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slideLayout" Target="../slideLayouts/slideLayout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image" Target="../media/image6.emf"/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image" Target="../media/image1.emf"/><Relationship Id="rId20" Type="http://schemas.openxmlformats.org/officeDocument/2006/relationships/tags" Target="../tags/tag22.xml"/><Relationship Id="rId41" Type="http://schemas.openxmlformats.org/officeDocument/2006/relationships/tags" Target="../tags/tag4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47.xml"/><Relationship Id="rId7" Type="http://schemas.openxmlformats.org/officeDocument/2006/relationships/chart" Target="../charts/chart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tags" Target="../tags/tag59.xml"/><Relationship Id="rId18" Type="http://schemas.openxmlformats.org/officeDocument/2006/relationships/tags" Target="../tags/tag64.xml"/><Relationship Id="rId26" Type="http://schemas.openxmlformats.org/officeDocument/2006/relationships/image" Target="../media/image1.emf"/><Relationship Id="rId3" Type="http://schemas.openxmlformats.org/officeDocument/2006/relationships/tags" Target="../tags/tag49.xml"/><Relationship Id="rId21" Type="http://schemas.openxmlformats.org/officeDocument/2006/relationships/tags" Target="../tags/tag67.xml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tags" Target="../tags/tag63.xml"/><Relationship Id="rId25" Type="http://schemas.openxmlformats.org/officeDocument/2006/relationships/oleObject" Target="../embeddings/oleObject6.bin"/><Relationship Id="rId2" Type="http://schemas.openxmlformats.org/officeDocument/2006/relationships/tags" Target="../tags/tag48.xml"/><Relationship Id="rId16" Type="http://schemas.openxmlformats.org/officeDocument/2006/relationships/tags" Target="../tags/tag62.xml"/><Relationship Id="rId20" Type="http://schemas.openxmlformats.org/officeDocument/2006/relationships/tags" Target="../tags/tag66.xml"/><Relationship Id="rId1" Type="http://schemas.openxmlformats.org/officeDocument/2006/relationships/vmlDrawing" Target="../drawings/vmlDrawing5.v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24" Type="http://schemas.openxmlformats.org/officeDocument/2006/relationships/slideLayout" Target="../slideLayouts/slideLayout1.xml"/><Relationship Id="rId5" Type="http://schemas.openxmlformats.org/officeDocument/2006/relationships/tags" Target="../tags/tag51.xml"/><Relationship Id="rId15" Type="http://schemas.openxmlformats.org/officeDocument/2006/relationships/tags" Target="../tags/tag61.xml"/><Relationship Id="rId23" Type="http://schemas.openxmlformats.org/officeDocument/2006/relationships/tags" Target="../tags/tag69.xml"/><Relationship Id="rId28" Type="http://schemas.openxmlformats.org/officeDocument/2006/relationships/image" Target="../media/image7.emf"/><Relationship Id="rId10" Type="http://schemas.openxmlformats.org/officeDocument/2006/relationships/tags" Target="../tags/tag56.xml"/><Relationship Id="rId19" Type="http://schemas.openxmlformats.org/officeDocument/2006/relationships/tags" Target="../tags/tag65.xml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tags" Target="../tags/tag60.xml"/><Relationship Id="rId22" Type="http://schemas.openxmlformats.org/officeDocument/2006/relationships/tags" Target="../tags/tag68.xml"/><Relationship Id="rId27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81.xml"/><Relationship Id="rId18" Type="http://schemas.openxmlformats.org/officeDocument/2006/relationships/tags" Target="../tags/tag86.xml"/><Relationship Id="rId26" Type="http://schemas.openxmlformats.org/officeDocument/2006/relationships/tags" Target="../tags/tag94.xml"/><Relationship Id="rId39" Type="http://schemas.microsoft.com/office/2007/relationships/diagramDrawing" Target="../diagrams/drawing1.xml"/><Relationship Id="rId21" Type="http://schemas.openxmlformats.org/officeDocument/2006/relationships/tags" Target="../tags/tag89.xml"/><Relationship Id="rId34" Type="http://schemas.openxmlformats.org/officeDocument/2006/relationships/image" Target="../media/image8.emf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tags" Target="../tags/tag85.xml"/><Relationship Id="rId25" Type="http://schemas.openxmlformats.org/officeDocument/2006/relationships/tags" Target="../tags/tag93.xml"/><Relationship Id="rId33" Type="http://schemas.openxmlformats.org/officeDocument/2006/relationships/oleObject" Target="../embeddings/oleObject9.bin"/><Relationship Id="rId38" Type="http://schemas.openxmlformats.org/officeDocument/2006/relationships/diagramColors" Target="../diagrams/colors1.xml"/><Relationship Id="rId2" Type="http://schemas.openxmlformats.org/officeDocument/2006/relationships/tags" Target="../tags/tag70.xml"/><Relationship Id="rId16" Type="http://schemas.openxmlformats.org/officeDocument/2006/relationships/tags" Target="../tags/tag84.xml"/><Relationship Id="rId20" Type="http://schemas.openxmlformats.org/officeDocument/2006/relationships/tags" Target="../tags/tag88.xml"/><Relationship Id="rId29" Type="http://schemas.openxmlformats.org/officeDocument/2006/relationships/tags" Target="../tags/tag97.xml"/><Relationship Id="rId1" Type="http://schemas.openxmlformats.org/officeDocument/2006/relationships/vmlDrawing" Target="../drawings/vmlDrawing6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24" Type="http://schemas.openxmlformats.org/officeDocument/2006/relationships/tags" Target="../tags/tag92.xml"/><Relationship Id="rId32" Type="http://schemas.openxmlformats.org/officeDocument/2006/relationships/image" Target="../media/image1.emf"/><Relationship Id="rId37" Type="http://schemas.openxmlformats.org/officeDocument/2006/relationships/diagramQuickStyle" Target="../diagrams/quickStyle1.xml"/><Relationship Id="rId5" Type="http://schemas.openxmlformats.org/officeDocument/2006/relationships/tags" Target="../tags/tag73.xml"/><Relationship Id="rId15" Type="http://schemas.openxmlformats.org/officeDocument/2006/relationships/tags" Target="../tags/tag83.xml"/><Relationship Id="rId23" Type="http://schemas.openxmlformats.org/officeDocument/2006/relationships/tags" Target="../tags/tag91.xml"/><Relationship Id="rId28" Type="http://schemas.openxmlformats.org/officeDocument/2006/relationships/tags" Target="../tags/tag96.xml"/><Relationship Id="rId36" Type="http://schemas.openxmlformats.org/officeDocument/2006/relationships/diagramLayout" Target="../diagrams/layout1.xml"/><Relationship Id="rId10" Type="http://schemas.openxmlformats.org/officeDocument/2006/relationships/tags" Target="../tags/tag78.xml"/><Relationship Id="rId19" Type="http://schemas.openxmlformats.org/officeDocument/2006/relationships/tags" Target="../tags/tag87.xml"/><Relationship Id="rId31" Type="http://schemas.openxmlformats.org/officeDocument/2006/relationships/oleObject" Target="../embeddings/oleObject8.bin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Relationship Id="rId22" Type="http://schemas.openxmlformats.org/officeDocument/2006/relationships/tags" Target="../tags/tag90.xml"/><Relationship Id="rId27" Type="http://schemas.openxmlformats.org/officeDocument/2006/relationships/tags" Target="../tags/tag95.xml"/><Relationship Id="rId30" Type="http://schemas.openxmlformats.org/officeDocument/2006/relationships/slideLayout" Target="../slideLayouts/slideLayout1.xml"/><Relationship Id="rId35" Type="http://schemas.openxmlformats.org/officeDocument/2006/relationships/diagramData" Target="../diagrams/data1.xml"/><Relationship Id="rId8" Type="http://schemas.openxmlformats.org/officeDocument/2006/relationships/tags" Target="../tags/tag76.xml"/><Relationship Id="rId3" Type="http://schemas.openxmlformats.org/officeDocument/2006/relationships/tags" Target="../tags/tag7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chart" Target="../charts/chart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67036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429" y="3231"/>
            <a:ext cx="10728000" cy="7584219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5345115" y="1062991"/>
            <a:ext cx="53714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chemeClr val="bg1"/>
                </a:solidFill>
                <a:latin typeface="Eras Demi ITC" panose="020B0805030504020804" pitchFamily="34" charset="0"/>
              </a:rPr>
              <a:t>Inteligência de Mercado </a:t>
            </a:r>
          </a:p>
          <a:p>
            <a:pPr algn="ctr"/>
            <a:r>
              <a:rPr lang="pt-BR" sz="2400" dirty="0">
                <a:solidFill>
                  <a:schemeClr val="bg1"/>
                </a:solidFill>
                <a:latin typeface="Eras Demi ITC" panose="020B0805030504020804" pitchFamily="34" charset="0"/>
              </a:rPr>
              <a:t>Grupo Bandeirantes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5412577" y="4658476"/>
            <a:ext cx="52365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Análise dos Investimentos </a:t>
            </a:r>
            <a:r>
              <a:rPr lang="pt-BR" sz="2400" dirty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em Mídia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6663285" y="5651098"/>
            <a:ext cx="26871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dirty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São Paulo, 23 de março de 2015</a:t>
            </a:r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2866" y="3016277"/>
            <a:ext cx="3048000" cy="143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074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80566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4" name="Slide do think-cell" r:id="rId26" imgW="270" imgH="270" progId="TCLayout.ActiveDocument.1">
                  <p:embed/>
                </p:oleObj>
              </mc:Choice>
              <mc:Fallback>
                <p:oleObj name="Slide do think-cell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2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1897039" y="564507"/>
            <a:ext cx="64868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/>
              <a:t>Principais Veículos em Investimentos 2014</a:t>
            </a:r>
            <a:endParaRPr lang="pt-BR" dirty="0"/>
          </a:p>
        </p:txBody>
      </p:sp>
      <p:graphicFrame>
        <p:nvGraphicFramePr>
          <p:cNvPr id="10" name="Objeto 9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6481929"/>
              </p:ext>
            </p:extLst>
          </p:nvPr>
        </p:nvGraphicFramePr>
        <p:xfrm>
          <a:off x="304800" y="1028700"/>
          <a:ext cx="4848138" cy="2457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5" name="Gráfico" r:id="rId28" imgW="4848138" imgH="2457475" progId="MSGraph.Chart.8">
                  <p:embed followColorScheme="full"/>
                </p:oleObj>
              </mc:Choice>
              <mc:Fallback>
                <p:oleObj name="Gráfico" r:id="rId28" imgW="4848138" imgH="245747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304800" y="1028700"/>
                        <a:ext cx="4848138" cy="2457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spaço Reservado para Texto 7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35113" y="3508375"/>
            <a:ext cx="5492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91060" indent="-391060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297" indent="-325883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34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4946" indent="-260706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359" indent="-260706" algn="l" defTabSz="521413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77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185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599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01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9E5E86A-26EC-4610-8A22-6A4DB559C52B}" type="datetime'''''''''''C''''LA''''U''''D''I''A'''''''''''">
              <a:rPr lang="en-US" sz="10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CLAUDIA</a:t>
            </a:fld>
            <a:endParaRPr lang="pt-BR" sz="10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5" name="Espaço Reservado para Texto 10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360738" y="3508375"/>
            <a:ext cx="595313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91060" indent="-391060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297" indent="-325883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34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4946" indent="-260706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359" indent="-260706" algn="l" defTabSz="521413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77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185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599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01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585984-1E9C-44FC-84DA-6D7870411A03}" type="datetime'VE''''J''A SA''''''''''O'''''''''' P''AU''''''''L''''''O'''">
              <a:rPr lang="en-US" sz="10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VEJA SAO PAULO</a:t>
            </a:fld>
            <a:endParaRPr lang="pt-BR" sz="10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3" name="Espaço Reservado para Texto 8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441575" y="3508375"/>
            <a:ext cx="584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91060" indent="-391060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297" indent="-325883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34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4946" indent="-260706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359" indent="-260706" algn="l" defTabSz="521413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77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185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599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01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D32A18-8787-4C02-AE35-F79EEE86D635}" type="datetime'''C''''''''''''''O''N''''''''TI''''''''''''G''O'">
              <a:rPr lang="en-US" sz="10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CONTIGO</a:t>
            </a:fld>
            <a:endParaRPr lang="pt-BR" sz="10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1" name="Espaço Reservado para Texto 6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85800" y="3508375"/>
            <a:ext cx="4016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91060" indent="-391060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297" indent="-325883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34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4946" indent="-260706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359" indent="-260706" algn="l" defTabSz="521413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77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185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599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01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34459E-F742-4200-86F0-70B53BAF6F20}" type="datetime'''''''''''''''C''''''''''A''''''''''''''''R''''''A''''S'">
              <a:rPr lang="en-US" sz="10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CARAS</a:t>
            </a:fld>
            <a:endParaRPr lang="pt-BR" sz="10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6" name="Espaço Reservado para Texto 11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206875" y="3508375"/>
            <a:ext cx="7493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91060" indent="-391060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297" indent="-325883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34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4946" indent="-260706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359" indent="-260706" algn="l" defTabSz="521413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77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185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599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01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7F5E28-5B86-4E9A-96AA-066C3F218B69}" type="datetime'''''''''''''B''''O''''A FOR''''M''''''''''''''''A'''">
              <a:rPr lang="en-US" sz="10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OA FORMA</a:t>
            </a:fld>
            <a:endParaRPr lang="pt-BR" sz="10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9" name="Retângulo 18"/>
          <p:cNvSpPr/>
          <p:nvPr>
            <p:custDataLst>
              <p:tags r:id="rId10"/>
            </p:custDataLst>
          </p:nvPr>
        </p:nvSpPr>
        <p:spPr bwMode="auto">
          <a:xfrm>
            <a:off x="4048125" y="1338263"/>
            <a:ext cx="214313" cy="16033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Espaço Reservado para Texto 13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313238" y="1333500"/>
            <a:ext cx="5715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91060" indent="-391060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297" indent="-325883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34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4946" indent="-260706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359" indent="-260706" algn="l" defTabSz="521413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77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185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599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01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2978C6-3727-4556-AAF7-98116F400493}" type="datetime'''''''''''''''''''''R''''''E''''V''I''''''''S''''''TA'''''''''">
              <a:rPr lang="en-US" sz="1200" b="1">
                <a:latin typeface="Eras Medium ITC" panose="020B0602030504020804" pitchFamily="34" charset="0"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VISTA</a:t>
            </a:fld>
            <a:endParaRPr lang="pt-BR" sz="1400" b="1" dirty="0">
              <a:latin typeface="Eras Medium ITC" panose="020B0602030504020804" pitchFamily="34" charset="0"/>
              <a:sym typeface="+mn-lt"/>
            </a:endParaRPr>
          </a:p>
        </p:txBody>
      </p:sp>
      <p:graphicFrame>
        <p:nvGraphicFramePr>
          <p:cNvPr id="21" name="Objeto 20"/>
          <p:cNvGraphicFramePr>
            <a:graphicFrameLocks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461391235"/>
              </p:ext>
            </p:extLst>
          </p:nvPr>
        </p:nvGraphicFramePr>
        <p:xfrm>
          <a:off x="5562600" y="1295400"/>
          <a:ext cx="4381410" cy="21907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6" name="Gráfico" r:id="rId30" imgW="4381410" imgH="2190781" progId="MSGraph.Chart.8">
                  <p:embed followColorScheme="full"/>
                </p:oleObj>
              </mc:Choice>
              <mc:Fallback>
                <p:oleObj name="Gráfico" r:id="rId30" imgW="4381410" imgH="219078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5562600" y="1295400"/>
                        <a:ext cx="4381410" cy="21907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Espaço Reservado para Texto 27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389938" y="2449513"/>
            <a:ext cx="8143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91060" indent="-391060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297" indent="-325883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34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4946" indent="-260706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359" indent="-260706" algn="l" defTabSz="521413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77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185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599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01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D7A843-D0D4-4AA7-8D92-FE5C813F0D58}" type="datetime'''R''''''''''$ ''''''''''''''1''40''.''''''''''''5''63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$ 140.563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7" name="Espaço Reservado para Texto 26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313488" y="1201738"/>
            <a:ext cx="8143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91060" indent="-391060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297" indent="-325883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34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4946" indent="-260706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359" indent="-260706" algn="l" defTabSz="521413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77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185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599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01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C05C7D-6FBF-4BE4-A30F-8BEB4ECB4718}" type="datetime'''''R$'''' ''3''7''''''''''''8''''''''.5''2''''''4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$ 378.524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2" name="Espaço Reservado para Texto 7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661400" y="3508375"/>
            <a:ext cx="269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91060" indent="-391060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297" indent="-325883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34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4946" indent="-260706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359" indent="-260706" algn="l" defTabSz="521413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77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185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599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01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9BA505-4918-41E3-A69A-A9222ED462F1}" type="datetime'''''''''''''''''''''''''''''G''''NT'''''''''''''''''">
              <a:rPr lang="en-US" sz="10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GNT</a:t>
            </a:fld>
            <a:endParaRPr lang="pt-BR" sz="10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5" name="Espaço Reservado para Texto 6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229350" y="3508375"/>
            <a:ext cx="9826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91060" indent="-391060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297" indent="-325883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34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4946" indent="-260706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359" indent="-260706" algn="l" defTabSz="521413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77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185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599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01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6EC3AA-F397-425F-ACAA-43E3591820DF}" type="datetime'''''''''''DISC''''''''O''VER''''''Y'''''' ''''''H''&amp;''''''''H'">
              <a:rPr lang="en-US" sz="10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DISCOVERY H&amp;H</a:t>
            </a:fld>
            <a:endParaRPr lang="pt-BR" sz="10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4" name="Retângulo 33"/>
          <p:cNvSpPr/>
          <p:nvPr>
            <p:custDataLst>
              <p:tags r:id="rId17"/>
            </p:custDataLst>
          </p:nvPr>
        </p:nvSpPr>
        <p:spPr bwMode="auto">
          <a:xfrm>
            <a:off x="8078788" y="1338263"/>
            <a:ext cx="214313" cy="160338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1" name="Espaço Reservado para Texto 17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343900" y="1333500"/>
            <a:ext cx="14446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91060" indent="-391060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297" indent="-325883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34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4946" indent="-260706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359" indent="-260706" algn="l" defTabSz="521413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77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185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599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01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C7E3E2B-288C-4957-9495-049083C0BBB0}" type="datetime'''T''V P''''OR'' A''''''SSI''N''A''''''''TU''R''''''''A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V POR ASSINATURA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graphicFrame>
        <p:nvGraphicFramePr>
          <p:cNvPr id="36" name="Objeto 35"/>
          <p:cNvGraphicFramePr>
            <a:graphicFrameLocks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405736305"/>
              </p:ext>
            </p:extLst>
          </p:nvPr>
        </p:nvGraphicFramePr>
        <p:xfrm>
          <a:off x="2552699" y="3886200"/>
          <a:ext cx="5724636" cy="2562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7" name="Gráfico" r:id="rId32" imgW="5724636" imgH="2562210" progId="MSGraph.Chart.8">
                  <p:embed followColorScheme="full"/>
                </p:oleObj>
              </mc:Choice>
              <mc:Fallback>
                <p:oleObj name="Gráfico" r:id="rId32" imgW="5724636" imgH="256221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552699" y="3886200"/>
                        <a:ext cx="5724636" cy="2562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Espaço Reservado para Texto 21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542088" y="6461125"/>
            <a:ext cx="142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91060" indent="-391060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297" indent="-325883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34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4946" indent="-260706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359" indent="-260706" algn="l" defTabSz="521413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77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185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599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01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0C441F-46C7-4E32-ACF5-55252832D970}" type="datetime'G''L''O''B''''O ''''''''FM'' (''S''''''''A''''LV''''''ADOR)'''">
              <a:rPr lang="en-US" sz="10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GLOBO FM (SALVADOR)</a:t>
            </a:fld>
            <a:endParaRPr lang="pt-BR" sz="10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8" name="Espaço Reservado para Texto 6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014663" y="6461125"/>
            <a:ext cx="1144588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91060" indent="-391060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297" indent="-325883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34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4946" indent="-260706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359" indent="-260706" algn="l" defTabSz="521413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77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185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599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01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36CBB6-760A-4B01-9197-2AAE5F0CD2F2}" type="datetime'FA''R''''ROUPIL''HA -'' AM ''(P''O''RTO'''' ''''AL''''EGR''E)'">
              <a:rPr lang="en-US" sz="10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FARROUPILHA - AM (PORTO ALEGRE)</a:t>
            </a:fld>
            <a:endParaRPr lang="pt-BR" sz="10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7" name="Espaço Reservado para Texto 7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692650" y="6461125"/>
            <a:ext cx="14557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91060" indent="-391060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297" indent="-325883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34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4946" indent="-260706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359" indent="-260706" algn="l" defTabSz="521413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77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185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599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01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69606E-9BED-440B-AD80-3D7E86B2182C}" type="datetime'''''''1''''0''4 ''F''''''M (PORTO'' ''''''ALE''''G''R''''E)'''">
              <a:rPr lang="en-US" sz="10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104 FM (PORTO ALEGRE)</a:t>
            </a:fld>
            <a:endParaRPr lang="pt-BR" sz="10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3" name="Retângulo 42"/>
          <p:cNvSpPr/>
          <p:nvPr>
            <p:custDataLst>
              <p:tags r:id="rId23"/>
            </p:custDataLst>
          </p:nvPr>
        </p:nvSpPr>
        <p:spPr bwMode="auto">
          <a:xfrm>
            <a:off x="7246938" y="4176713"/>
            <a:ext cx="214313" cy="1603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2" name="Espaço Reservado para Texto 2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512050" y="4171950"/>
            <a:ext cx="4651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91060" indent="-391060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297" indent="-325883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34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4946" indent="-260706" algn="l" defTabSz="521413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359" indent="-260706" algn="l" defTabSz="521413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77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185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599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012" indent="-260706" algn="l" defTabSz="521413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AF27829-039F-4F5D-8A06-3D57C81841D6}" type="datetime'''''''''''''''''R''''''''''''''''''''A''''''''DI''O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ADIO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0" name="CaixaDeTexto 49"/>
          <p:cNvSpPr txBox="1"/>
          <p:nvPr/>
        </p:nvSpPr>
        <p:spPr>
          <a:xfrm>
            <a:off x="5939632" y="6807163"/>
            <a:ext cx="460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</a:t>
            </a:r>
            <a:r>
              <a:rPr lang="pt-BR" sz="900" dirty="0" smtClean="0"/>
              <a:t>Monitor </a:t>
            </a:r>
            <a:r>
              <a:rPr lang="pt-BR" sz="900" dirty="0"/>
              <a:t>2014 - Valores líquidos com descontos estimados:</a:t>
            </a:r>
          </a:p>
          <a:p>
            <a:r>
              <a:rPr lang="pt-BR" sz="900" dirty="0" smtClean="0"/>
              <a:t>Rádio: 65%, TV por Assinatura: 70% e Revista: 80%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3687577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1358125" y="2904262"/>
            <a:ext cx="797239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dirty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Cargill</a:t>
            </a:r>
          </a:p>
          <a:p>
            <a:pPr algn="ctr"/>
            <a:r>
              <a:rPr lang="pt-BR" sz="3600" dirty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Análise </a:t>
            </a:r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dos </a:t>
            </a:r>
            <a:r>
              <a:rPr lang="pt-BR" sz="3600" dirty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Investimentos em Mídia</a:t>
            </a:r>
          </a:p>
          <a:p>
            <a:pPr algn="ctr"/>
            <a:r>
              <a:rPr lang="pt-BR" sz="3600" dirty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Base: Ibope Monitor</a:t>
            </a:r>
          </a:p>
        </p:txBody>
      </p:sp>
    </p:spTree>
    <p:extLst>
      <p:ext uri="{BB962C8B-B14F-4D97-AF65-F5344CB8AC3E}">
        <p14:creationId xmlns:p14="http://schemas.microsoft.com/office/powerpoint/2010/main" val="3517652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220831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8" name="Slide do think-cell" r:id="rId45" imgW="270" imgH="270" progId="TCLayout.ActiveDocument.1">
                  <p:embed/>
                </p:oleObj>
              </mc:Choice>
              <mc:Fallback>
                <p:oleObj name="Slide do think-cell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884489" y="564507"/>
            <a:ext cx="54994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/>
              <a:t>Análise dos Investimentos em Mídia</a:t>
            </a:r>
          </a:p>
        </p:txBody>
      </p:sp>
      <p:graphicFrame>
        <p:nvGraphicFramePr>
          <p:cNvPr id="23" name="Objeto 22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09171795"/>
              </p:ext>
            </p:extLst>
          </p:nvPr>
        </p:nvGraphicFramePr>
        <p:xfrm>
          <a:off x="419100" y="2400300"/>
          <a:ext cx="9810731" cy="3895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9" name="Gráfico" r:id="rId47" imgW="9810731" imgH="3895681" progId="MSGraph.Chart.8">
                  <p:embed followColorScheme="full"/>
                </p:oleObj>
              </mc:Choice>
              <mc:Fallback>
                <p:oleObj name="Gráfico" r:id="rId47" imgW="9810731" imgH="389568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419100" y="2400300"/>
                        <a:ext cx="9810731" cy="3895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Conector reto 15"/>
          <p:cNvCxnSpPr/>
          <p:nvPr>
            <p:custDataLst>
              <p:tags r:id="rId5"/>
            </p:custDataLst>
          </p:nvPr>
        </p:nvCxnSpPr>
        <p:spPr bwMode="auto">
          <a:xfrm>
            <a:off x="5729288" y="5646738"/>
            <a:ext cx="423863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>
            <p:custDataLst>
              <p:tags r:id="rId6"/>
            </p:custDataLst>
          </p:nvPr>
        </p:nvCxnSpPr>
        <p:spPr bwMode="auto">
          <a:xfrm flipV="1">
            <a:off x="4529138" y="5608638"/>
            <a:ext cx="0" cy="279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to 27"/>
          <p:cNvCxnSpPr/>
          <p:nvPr>
            <p:custDataLst>
              <p:tags r:id="rId7"/>
            </p:custDataLst>
          </p:nvPr>
        </p:nvCxnSpPr>
        <p:spPr bwMode="auto">
          <a:xfrm>
            <a:off x="7348538" y="5627689"/>
            <a:ext cx="0" cy="3079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to 6"/>
          <p:cNvCxnSpPr/>
          <p:nvPr>
            <p:custDataLst>
              <p:tags r:id="rId8"/>
            </p:custDataLst>
          </p:nvPr>
        </p:nvCxnSpPr>
        <p:spPr bwMode="auto">
          <a:xfrm>
            <a:off x="4529138" y="5608638"/>
            <a:ext cx="42862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to 26"/>
          <p:cNvCxnSpPr/>
          <p:nvPr>
            <p:custDataLst>
              <p:tags r:id="rId9"/>
            </p:custDataLst>
          </p:nvPr>
        </p:nvCxnSpPr>
        <p:spPr bwMode="auto">
          <a:xfrm>
            <a:off x="6919914" y="5627688"/>
            <a:ext cx="42862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to 29"/>
          <p:cNvCxnSpPr/>
          <p:nvPr>
            <p:custDataLst>
              <p:tags r:id="rId10"/>
            </p:custDataLst>
          </p:nvPr>
        </p:nvCxnSpPr>
        <p:spPr bwMode="auto">
          <a:xfrm>
            <a:off x="9320214" y="2303463"/>
            <a:ext cx="42862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to 30"/>
          <p:cNvCxnSpPr/>
          <p:nvPr>
            <p:custDataLst>
              <p:tags r:id="rId11"/>
            </p:custDataLst>
          </p:nvPr>
        </p:nvCxnSpPr>
        <p:spPr bwMode="auto">
          <a:xfrm>
            <a:off x="9748838" y="2303464"/>
            <a:ext cx="0" cy="23463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8"/>
          <p:cNvCxnSpPr/>
          <p:nvPr>
            <p:custDataLst>
              <p:tags r:id="rId12"/>
            </p:custDataLst>
          </p:nvPr>
        </p:nvCxnSpPr>
        <p:spPr bwMode="auto">
          <a:xfrm flipV="1">
            <a:off x="928688" y="3322639"/>
            <a:ext cx="0" cy="2127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to 10"/>
          <p:cNvCxnSpPr/>
          <p:nvPr>
            <p:custDataLst>
              <p:tags r:id="rId13"/>
            </p:custDataLst>
          </p:nvPr>
        </p:nvCxnSpPr>
        <p:spPr bwMode="auto">
          <a:xfrm>
            <a:off x="1357313" y="3322639"/>
            <a:ext cx="0" cy="19081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11"/>
          <p:cNvCxnSpPr/>
          <p:nvPr>
            <p:custDataLst>
              <p:tags r:id="rId14"/>
            </p:custDataLst>
          </p:nvPr>
        </p:nvCxnSpPr>
        <p:spPr bwMode="auto">
          <a:xfrm flipV="1">
            <a:off x="2128838" y="5208588"/>
            <a:ext cx="0" cy="2127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to 9"/>
          <p:cNvCxnSpPr/>
          <p:nvPr>
            <p:custDataLst>
              <p:tags r:id="rId15"/>
            </p:custDataLst>
          </p:nvPr>
        </p:nvCxnSpPr>
        <p:spPr bwMode="auto">
          <a:xfrm>
            <a:off x="928689" y="3322638"/>
            <a:ext cx="42862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to 18"/>
          <p:cNvCxnSpPr/>
          <p:nvPr>
            <p:custDataLst>
              <p:tags r:id="rId16"/>
            </p:custDataLst>
          </p:nvPr>
        </p:nvCxnSpPr>
        <p:spPr bwMode="auto">
          <a:xfrm flipV="1">
            <a:off x="3328988" y="5370514"/>
            <a:ext cx="0" cy="1270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/>
          <p:cNvCxnSpPr/>
          <p:nvPr>
            <p:custDataLst>
              <p:tags r:id="rId17"/>
            </p:custDataLst>
          </p:nvPr>
        </p:nvCxnSpPr>
        <p:spPr bwMode="auto">
          <a:xfrm>
            <a:off x="3757613" y="5370514"/>
            <a:ext cx="0" cy="2317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to 16"/>
          <p:cNvCxnSpPr/>
          <p:nvPr>
            <p:custDataLst>
              <p:tags r:id="rId18"/>
            </p:custDataLst>
          </p:nvPr>
        </p:nvCxnSpPr>
        <p:spPr bwMode="auto">
          <a:xfrm>
            <a:off x="6153150" y="5646739"/>
            <a:ext cx="0" cy="2889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to 25"/>
          <p:cNvCxnSpPr/>
          <p:nvPr>
            <p:custDataLst>
              <p:tags r:id="rId19"/>
            </p:custDataLst>
          </p:nvPr>
        </p:nvCxnSpPr>
        <p:spPr bwMode="auto">
          <a:xfrm flipV="1">
            <a:off x="6919913" y="5627689"/>
            <a:ext cx="0" cy="30797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/>
          <p:cNvCxnSpPr/>
          <p:nvPr>
            <p:custDataLst>
              <p:tags r:id="rId20"/>
            </p:custDataLst>
          </p:nvPr>
        </p:nvCxnSpPr>
        <p:spPr bwMode="auto">
          <a:xfrm>
            <a:off x="2557463" y="5208589"/>
            <a:ext cx="0" cy="7270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to 21"/>
          <p:cNvCxnSpPr/>
          <p:nvPr>
            <p:custDataLst>
              <p:tags r:id="rId21"/>
            </p:custDataLst>
          </p:nvPr>
        </p:nvCxnSpPr>
        <p:spPr bwMode="auto">
          <a:xfrm flipV="1">
            <a:off x="9320213" y="2303464"/>
            <a:ext cx="0" cy="2127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>
            <p:custDataLst>
              <p:tags r:id="rId22"/>
            </p:custDataLst>
          </p:nvPr>
        </p:nvCxnSpPr>
        <p:spPr bwMode="auto">
          <a:xfrm flipV="1">
            <a:off x="5729288" y="5646738"/>
            <a:ext cx="0" cy="279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/>
          <p:cNvCxnSpPr/>
          <p:nvPr>
            <p:custDataLst>
              <p:tags r:id="rId23"/>
            </p:custDataLst>
          </p:nvPr>
        </p:nvCxnSpPr>
        <p:spPr bwMode="auto">
          <a:xfrm>
            <a:off x="2128839" y="5208588"/>
            <a:ext cx="42862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/>
          <p:nvPr>
            <p:custDataLst>
              <p:tags r:id="rId24"/>
            </p:custDataLst>
          </p:nvPr>
        </p:nvCxnSpPr>
        <p:spPr bwMode="auto">
          <a:xfrm>
            <a:off x="4957763" y="5608639"/>
            <a:ext cx="0" cy="3079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Espaço Reservado para Texto 83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551364" y="6286502"/>
            <a:ext cx="38417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2A5908-A58A-4256-80D1-B86AA6D3BE19}" type="datetime'''''''R''''''''''''''''''''A''''''DI''''O'''''''''''">
              <a:rPr lang="en-US" sz="9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ADIO</a:t>
            </a:fld>
            <a:endParaRPr lang="pt-BR" sz="9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74" name="Espaço Reservado para Texto 24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305177" y="6286502"/>
            <a:ext cx="477838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90A24E-2367-4500-A175-BAECC39419D3}" type="datetime'''''R''''''''''''''''''''EV''I''''''''STA'''''''''">
              <a:rPr lang="en-US" sz="9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VISTA</a:t>
            </a:fld>
            <a:endParaRPr lang="pt-BR" sz="9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45" name="Espaço Reservado para Texto 84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703888" y="6286502"/>
            <a:ext cx="471488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856738-BC83-4BE6-98DF-1692741ABDDB}" type="datetime'''''''''JO''RN''''''''''''A''''''''''''L'''''''''''">
              <a:rPr lang="en-US" sz="9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ORNAL</a:t>
            </a:fld>
            <a:endParaRPr lang="pt-BR" sz="9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53" name="Espaço Reservado para Texto 3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23914" y="6286502"/>
            <a:ext cx="639763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A9F046-8D78-4907-B0BB-559937B1358C}" type="datetime'''TV'''''''''''''''' ABE''RTA'''''''">
              <a:rPr lang="en-US" sz="9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V ABERTA</a:t>
            </a:fld>
            <a:endParaRPr lang="pt-BR" sz="9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42" name="Espaço Reservado para Texto 69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342439" y="6286502"/>
            <a:ext cx="385763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FCB6D6-55E8-4A00-AA3F-80769CDFD2AC}" type="datetime'''''''''''''''T''''O''TA''''''''''''''''''''''''''''''''L'''">
              <a:rPr lang="en-US" sz="9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pt-BR" sz="9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60" name="Espaço Reservado para Texto 88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767515" y="5472113"/>
            <a:ext cx="735013" cy="3111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C3B8A96D-CB47-4245-878D-7AA1C798D7FC}" type="datetime'''''''''''''''''''''''''''''''-''10''''''''''0''%'''">
              <a:rPr lang="en-US" sz="1600" b="1"/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-100%</a:t>
            </a:fld>
            <a:endParaRPr lang="pt-BR" sz="1600" b="1" dirty="0">
              <a:sym typeface="+mn-lt"/>
            </a:endParaRPr>
          </a:p>
        </p:txBody>
      </p:sp>
      <p:sp>
        <p:nvSpPr>
          <p:cNvPr id="46" name="Espaço Reservado para Texto 85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427539" y="5453063"/>
            <a:ext cx="631825" cy="3111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C682A868-64C3-4A51-A31F-95A6399CFC0D}" type="datetime'''''''''-''''''''''6''3''''''''%'''''''''''''''''''''">
              <a:rPr lang="en-US" sz="16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-63%</a:t>
            </a:fld>
            <a:endParaRPr lang="pt-BR" sz="16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0" name="Espaço Reservado para Texto 86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592765" y="5510213"/>
            <a:ext cx="696913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6D19C2-F668-4EB3-A832-8A711F61ABCB}" type="datetime'-''1''0''''''''''0''%'''''''''''''''''''''">
              <a:rPr lang="en-US" sz="14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-100%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73" name="Espaço Reservado para Texto 23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763715" y="6286502"/>
            <a:ext cx="115887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F6AADC-E633-4A39-A2EB-6D86CCB185F3}" type="datetime'T''V M''''''''''E''''R''''''C''H''''AN''D''I''''SIN''G'''''">
              <a:rPr lang="en-US" sz="9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V MERCHANDISING</a:t>
            </a:fld>
            <a:endParaRPr lang="pt-BR" sz="9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59" name="Espaço Reservado para Texto 87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850065" y="6286502"/>
            <a:ext cx="5683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1C5669-7327-4D6F-A2F7-830A0CE56A5E}" type="datetime'''I''''''NT''''E''''''''''R''''''''''''''''NE''''T'''">
              <a:rPr lang="en-US" sz="9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INTERNET</a:t>
            </a:fld>
            <a:endParaRPr lang="pt-BR" sz="9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89" name="Espaço Reservado para Texto 34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3267077" y="5148264"/>
            <a:ext cx="552450" cy="273050"/>
          </a:xfrm>
          <a:prstGeom prst="ellipse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571A79-1385-4DA7-BE09-2A428F75A80D}" type="datetime'''-''''''2''''''''''''''''''''''''''''''''''''''''5''''''%'''">
              <a:rPr lang="en-US" sz="14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-25%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1" name="Espaço Reservado para Texto 68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880350" y="6286502"/>
            <a:ext cx="9080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EA5C5C-5038-4035-B53F-ABAF436A15E0}" type="datetime'''TV'''''''' ''''''AS''S''I''NAT''U''''''''''''''''''RA'''">
              <a:rPr lang="en-US" sz="9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V ASSINATURA</a:t>
            </a:fld>
            <a:endParaRPr lang="pt-BR" sz="9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85" name="Espaço Reservado para Texto 33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995491" y="5072064"/>
            <a:ext cx="696913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09003964-4B70-490E-BDC9-CDFEA0406F18}" type="datetime'''''''''-''1''''''''''''''''''''''''0''''''''''''''''''''''0%'">
              <a:rPr lang="en-US" sz="14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-100%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82" name="Espaço Reservado para Texto 3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866775" y="3186114"/>
            <a:ext cx="552450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25E42D73-07F4-4118-A69F-CC178AF4CF86}" type="datetime'-''''''''7''''''''''''''''''''''''''''1''''%'''''''''''''''''">
              <a:rPr lang="en-US" sz="14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-71%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1" name="Espaço Reservado para Texto 74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9258300" y="2166939"/>
            <a:ext cx="552450" cy="273050"/>
          </a:xfrm>
          <a:prstGeom prst="ellipse">
            <a:avLst/>
          </a:prstGeom>
          <a:solidFill>
            <a:srgbClr val="C30C3E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5E2916CC-156A-4225-98D2-B4C0E9283568}" type="datetime'''''''''''-''6''''''''''''''''''2''''''''''''%'''">
              <a:rPr lang="en-US" sz="1400" b="1">
                <a:solidFill>
                  <a:schemeClr val="bg1"/>
                </a:solidFill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-62%</a:t>
            </a:fld>
            <a:endParaRPr lang="pt-BR" sz="1400" b="1" dirty="0">
              <a:solidFill>
                <a:schemeClr val="bg1"/>
              </a:solidFill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" name="Retângulo 3"/>
          <p:cNvSpPr/>
          <p:nvPr>
            <p:custDataLst>
              <p:tags r:id="rId40"/>
            </p:custDataLst>
          </p:nvPr>
        </p:nvSpPr>
        <p:spPr bwMode="auto">
          <a:xfrm>
            <a:off x="600076" y="2508251"/>
            <a:ext cx="250825" cy="187325"/>
          </a:xfrm>
          <a:prstGeom prst="rect">
            <a:avLst/>
          </a:prstGeom>
          <a:solidFill>
            <a:srgbClr val="008000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/>
          <p:cNvSpPr/>
          <p:nvPr>
            <p:custDataLst>
              <p:tags r:id="rId41"/>
            </p:custDataLst>
          </p:nvPr>
        </p:nvSpPr>
        <p:spPr bwMode="auto">
          <a:xfrm>
            <a:off x="1435100" y="2508251"/>
            <a:ext cx="250825" cy="187325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8" name="Espaço Reservado para Texto 9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736726" y="2503490"/>
            <a:ext cx="4318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C32F3D-45C2-48C0-94B6-E884139D8A4C}" type="datetime'2''''''''''''''''''''''''''''0''''''''''''''1''''''''''4'">
              <a:rPr lang="en-US" sz="14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pt-BR" sz="14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57" name="Espaço Reservado para Texto 8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901700" y="2503490"/>
            <a:ext cx="4318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59E1463-EA08-4F18-902D-D2A2B4F67D8D}" type="datetime'''''''''''''''''''''''''''''''''''2''0''''''''''''13'''''">
              <a:rPr lang="en-US" sz="14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pt-BR" sz="14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63" name="CaixaDeTexto 62"/>
          <p:cNvSpPr txBox="1"/>
          <p:nvPr/>
        </p:nvSpPr>
        <p:spPr>
          <a:xfrm>
            <a:off x="193040" y="1209905"/>
            <a:ext cx="1035685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900" dirty="0"/>
              <a:t>A Cargill reduziu </a:t>
            </a:r>
            <a:r>
              <a:rPr lang="pt-BR" sz="1900" dirty="0" smtClean="0"/>
              <a:t>em 62% o </a:t>
            </a:r>
            <a:r>
              <a:rPr lang="pt-BR" sz="1900" dirty="0"/>
              <a:t>budget de mídia em </a:t>
            </a:r>
            <a:r>
              <a:rPr lang="pt-BR" sz="1900" dirty="0" smtClean="0"/>
              <a:t>2014 quando </a:t>
            </a:r>
            <a:r>
              <a:rPr lang="pt-BR" sz="1900" dirty="0"/>
              <a:t>comparamos com os investimentos realizados em 2013.</a:t>
            </a:r>
          </a:p>
        </p:txBody>
      </p:sp>
      <p:sp>
        <p:nvSpPr>
          <p:cNvPr id="64" name="CaixaDeTexto 63"/>
          <p:cNvSpPr txBox="1"/>
          <p:nvPr/>
        </p:nvSpPr>
        <p:spPr>
          <a:xfrm>
            <a:off x="5939632" y="6673207"/>
            <a:ext cx="460016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 2013 e 2014 - Valores líquidos com descontos estimados:</a:t>
            </a:r>
          </a:p>
          <a:p>
            <a:r>
              <a:rPr lang="pt-BR" sz="900" dirty="0"/>
              <a:t>Band TV: </a:t>
            </a:r>
            <a:r>
              <a:rPr lang="pt-BR" sz="900" dirty="0" smtClean="0"/>
              <a:t>77%, </a:t>
            </a:r>
            <a:r>
              <a:rPr lang="pt-BR" sz="900" dirty="0"/>
              <a:t>Globo: </a:t>
            </a:r>
            <a:r>
              <a:rPr lang="pt-BR" sz="900" dirty="0" smtClean="0"/>
              <a:t>12%, </a:t>
            </a:r>
            <a:r>
              <a:rPr lang="pt-BR" sz="900" dirty="0"/>
              <a:t>Record e SBT: </a:t>
            </a:r>
            <a:r>
              <a:rPr lang="pt-BR" sz="900" dirty="0" smtClean="0"/>
              <a:t>75%.</a:t>
            </a:r>
          </a:p>
          <a:p>
            <a:r>
              <a:rPr lang="pt-BR" sz="900" dirty="0" smtClean="0"/>
              <a:t>Rádio: 65%, Internet e TV por Assinatura: 70%, Jornal e Revista: 80%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1281451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8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3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941343" y="564507"/>
            <a:ext cx="64425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/>
              <a:t>Análise de Investimento por Marca</a:t>
            </a:r>
          </a:p>
        </p:txBody>
      </p:sp>
      <p:graphicFrame>
        <p:nvGraphicFramePr>
          <p:cNvPr id="32" name="Gráfico 31"/>
          <p:cNvGraphicFramePr/>
          <p:nvPr>
            <p:extLst>
              <p:ext uri="{D42A27DB-BD31-4B8C-83A1-F6EECF244321}">
                <p14:modId xmlns:p14="http://schemas.microsoft.com/office/powerpoint/2010/main" val="2792721716"/>
              </p:ext>
            </p:extLst>
          </p:nvPr>
        </p:nvGraphicFramePr>
        <p:xfrm>
          <a:off x="394336" y="2926080"/>
          <a:ext cx="4639163" cy="3342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3" name="CaixaDeTexto 32"/>
          <p:cNvSpPr txBox="1"/>
          <p:nvPr/>
        </p:nvSpPr>
        <p:spPr>
          <a:xfrm>
            <a:off x="204471" y="1260950"/>
            <a:ext cx="1028128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900" dirty="0" smtClean="0"/>
              <a:t>A POMAROLA é a marca que recebeu </a:t>
            </a:r>
            <a:r>
              <a:rPr lang="pt-BR" sz="1900" dirty="0"/>
              <a:t>o </a:t>
            </a:r>
            <a:r>
              <a:rPr lang="pt-BR" sz="1900" dirty="0" smtClean="0"/>
              <a:t>maior </a:t>
            </a:r>
            <a:r>
              <a:rPr lang="pt-BR" sz="1900" dirty="0"/>
              <a:t>esforço de mídia em 2014, apresentando 68% de participação, cerca de R$ 2,0 milhões.</a:t>
            </a:r>
          </a:p>
        </p:txBody>
      </p:sp>
      <p:sp>
        <p:nvSpPr>
          <p:cNvPr id="34" name="CaixaDeTexto 33"/>
          <p:cNvSpPr txBox="1"/>
          <p:nvPr/>
        </p:nvSpPr>
        <p:spPr>
          <a:xfrm>
            <a:off x="591286" y="2392322"/>
            <a:ext cx="39947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u="sng" dirty="0">
                <a:latin typeface="Eras Demi ITC" panose="020B0805030504020804" pitchFamily="34" charset="0"/>
              </a:rPr>
              <a:t>2013 (Janeiro a Dezembro): R$ 7,7 Milhões </a:t>
            </a:r>
          </a:p>
        </p:txBody>
      </p:sp>
      <p:graphicFrame>
        <p:nvGraphicFramePr>
          <p:cNvPr id="9" name="Gráfico 8"/>
          <p:cNvGraphicFramePr/>
          <p:nvPr>
            <p:extLst>
              <p:ext uri="{D42A27DB-BD31-4B8C-83A1-F6EECF244321}">
                <p14:modId xmlns:p14="http://schemas.microsoft.com/office/powerpoint/2010/main" val="1586056380"/>
              </p:ext>
            </p:extLst>
          </p:nvPr>
        </p:nvGraphicFramePr>
        <p:xfrm>
          <a:off x="5625173" y="2926080"/>
          <a:ext cx="4639163" cy="3342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CaixaDeTexto 9"/>
          <p:cNvSpPr txBox="1"/>
          <p:nvPr/>
        </p:nvSpPr>
        <p:spPr>
          <a:xfrm>
            <a:off x="6005002" y="2392322"/>
            <a:ext cx="39947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u="sng" dirty="0">
                <a:latin typeface="Eras Demi ITC" panose="020B0805030504020804" pitchFamily="34" charset="0"/>
              </a:rPr>
              <a:t>2014 (Janeiro a Dezembro): 2,9 Milhões 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5939632" y="6673207"/>
            <a:ext cx="460016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 2013 e 2014 - Valores líquidos com descontos estimados:</a:t>
            </a:r>
          </a:p>
          <a:p>
            <a:r>
              <a:rPr lang="pt-BR" sz="900" dirty="0"/>
              <a:t>Band TV: </a:t>
            </a:r>
            <a:r>
              <a:rPr lang="pt-BR" sz="900" dirty="0" smtClean="0"/>
              <a:t>77%, </a:t>
            </a:r>
            <a:r>
              <a:rPr lang="pt-BR" sz="900" dirty="0"/>
              <a:t>Globo: </a:t>
            </a:r>
            <a:r>
              <a:rPr lang="pt-BR" sz="900" dirty="0" smtClean="0"/>
              <a:t>12%, </a:t>
            </a:r>
            <a:r>
              <a:rPr lang="pt-BR" sz="900" dirty="0"/>
              <a:t>Record e SBT: </a:t>
            </a:r>
            <a:r>
              <a:rPr lang="pt-BR" sz="900" dirty="0" smtClean="0"/>
              <a:t>75%.</a:t>
            </a:r>
          </a:p>
          <a:p>
            <a:r>
              <a:rPr lang="pt-BR" sz="900" dirty="0" smtClean="0"/>
              <a:t>Rádio: 65%, Internet e TV por Assinatura: 70%, Jornal e Revista: 80%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3386914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408926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2" name="Slide do think-cell" r:id="rId25" imgW="270" imgH="270" progId="TCLayout.ActiveDocument.1">
                  <p:embed/>
                </p:oleObj>
              </mc:Choice>
              <mc:Fallback>
                <p:oleObj name="Slide do think-cell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4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3111501" y="564507"/>
            <a:ext cx="52724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/>
              <a:t>Análise de Investimento por Meio</a:t>
            </a:r>
          </a:p>
        </p:txBody>
      </p:sp>
      <p:sp>
        <p:nvSpPr>
          <p:cNvPr id="34" name="CaixaDeTexto 33"/>
          <p:cNvSpPr txBox="1"/>
          <p:nvPr/>
        </p:nvSpPr>
        <p:spPr>
          <a:xfrm>
            <a:off x="6938597" y="2199842"/>
            <a:ext cx="32711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200" u="sng" dirty="0">
                <a:latin typeface="Eras Demi ITC" panose="020B0805030504020804" pitchFamily="34" charset="0"/>
              </a:rPr>
              <a:t>2014 (Janeiro a Dezembro) - R$ Milhões</a:t>
            </a:r>
          </a:p>
        </p:txBody>
      </p:sp>
      <p:graphicFrame>
        <p:nvGraphicFramePr>
          <p:cNvPr id="4" name="Objeto 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94116451"/>
              </p:ext>
            </p:extLst>
          </p:nvPr>
        </p:nvGraphicFramePr>
        <p:xfrm>
          <a:off x="76201" y="2705100"/>
          <a:ext cx="10515547" cy="30955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3" name="Gráfico" r:id="rId27" imgW="10515547" imgH="3095598" progId="MSGraph.Chart.8">
                  <p:embed followColorScheme="full"/>
                </p:oleObj>
              </mc:Choice>
              <mc:Fallback>
                <p:oleObj name="Gráfico" r:id="rId27" imgW="10515547" imgH="309559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76201" y="2705100"/>
                        <a:ext cx="10515547" cy="30955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Espaço Reservado para Texto 28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47715" y="5949951"/>
            <a:ext cx="9826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AEDB1A-8C79-45B5-8D8F-E9A18A202ACA}" type="datetime'PO''''''''M''''''A''''''R''''''O''''''''L''''''''A'''">
              <a:rPr lang="en-US" sz="1400" b="1">
                <a:latin typeface="Eras Medium ITC" panose="020B0602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MAROLA</a:t>
            </a:fld>
            <a:endParaRPr lang="pt-BR" sz="1400" b="1" dirty="0">
              <a:latin typeface="Eras Medium ITC" panose="020B0602030504020804" pitchFamily="34" charset="0"/>
              <a:sym typeface="+mn-lt"/>
            </a:endParaRPr>
          </a:p>
        </p:txBody>
      </p:sp>
      <p:sp>
        <p:nvSpPr>
          <p:cNvPr id="27" name="Espaço Reservado para Texto 34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30276" y="2568577"/>
            <a:ext cx="6175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b="1" dirty="0">
                <a:latin typeface="Eras Medium ITC" panose="020B0602030504020804" pitchFamily="34" charset="0"/>
              </a:rPr>
              <a:t>R</a:t>
            </a:r>
            <a:r>
              <a:rPr lang="en-US" sz="1600" b="1">
                <a:latin typeface="Eras Medium ITC" panose="020B0602030504020804" pitchFamily="34" charset="0"/>
              </a:rPr>
              <a:t>$ </a:t>
            </a:r>
            <a:fld id="{3BC4EEA6-A49F-4B82-8851-92CDD46821EB}" type="datetime'''''''''2'''''''''''',''''''''''''''0'''''''''''''''''">
              <a:rPr lang="en-US" sz="16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0</a:t>
            </a:fld>
            <a:endParaRPr lang="pt-BR" sz="16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6" name="Espaço Reservado para Texto 58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9188450" y="2600326"/>
            <a:ext cx="5397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Eras Medium ITC" panose="020B0602030504020804" pitchFamily="34" charset="0"/>
                <a:sym typeface="Eras Medium ITC" panose="020B0602030504020804" pitchFamily="34" charset="0"/>
              </a:rPr>
              <a:t>R</a:t>
            </a:r>
            <a:r>
              <a:rPr lang="en-US" sz="1400" b="1">
                <a:latin typeface="Eras Medium ITC" panose="020B0602030504020804" pitchFamily="34" charset="0"/>
                <a:sym typeface="Eras Medium ITC" panose="020B0602030504020804" pitchFamily="34" charset="0"/>
              </a:rPr>
              <a:t>$ </a:t>
            </a:r>
            <a:fld id="{52D84E3B-D035-489C-B381-E0D4C8F483C2}" type="datetime'''''''''''''''''''''''2'''''',''''''''''9'''">
              <a:rPr lang="en-US" sz="14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9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5" name="Espaço Reservado para Texto 57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183690" y="5949951"/>
            <a:ext cx="550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5141E5-6455-46F7-8B3E-EED60E698A32}" type="datetime'''''''T''''''''''''''''''''''''''''''OT''''''AL'">
              <a:rPr lang="en-US" sz="14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7" name="Espaço Reservado para Texto 59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9324975" y="5575301"/>
            <a:ext cx="268288" cy="212725"/>
          </a:xfrm>
          <a:prstGeom prst="rect">
            <a:avLst/>
          </a:prstGeom>
          <a:solidFill>
            <a:srgbClr val="007770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265D93-493D-48E2-A41F-B6F4117971FD}" type="datetime'''''''''''''''''''''1%'''''''''''''">
              <a:rPr lang="en-US" sz="140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pt-BR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3" name="Espaço Reservado para Texto 55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050090" y="5949951"/>
            <a:ext cx="703262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1BA4DA-8081-40CD-AE6A-89AC2EFDE459}" type="datetime'''''''''''''''''''OU''''T''RO''''''''S'''''">
              <a:rPr lang="en-US" sz="14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UTROS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4" name="Espaço Reservado para Texto 56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131050" y="2600326"/>
            <a:ext cx="5397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Eras Medium ITC" panose="020B0602030504020804" pitchFamily="34" charset="0"/>
                <a:sym typeface="Eras Medium ITC" panose="020B0602030504020804" pitchFamily="34" charset="0"/>
              </a:rPr>
              <a:t>R</a:t>
            </a:r>
            <a:r>
              <a:rPr lang="en-US" sz="1400" b="1">
                <a:latin typeface="Eras Medium ITC" panose="020B0602030504020804" pitchFamily="34" charset="0"/>
                <a:sym typeface="Eras Medium ITC" panose="020B0602030504020804" pitchFamily="34" charset="0"/>
              </a:rPr>
              <a:t>$ </a:t>
            </a:r>
            <a:fld id="{ECD50D80-D20D-4E6D-8FDD-3C9B363584FC}" type="datetime'''''''''''''''''''0'''',''''''''''''''0'''''''''''">
              <a:rPr lang="en-US" sz="14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0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7" name="Espaço Reservado para Texto 49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926012" y="5949951"/>
            <a:ext cx="8461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E52FF4-3D7E-415A-89D6-8B4DBAF69348}" type="datetime'''''E''''''''LE''''''F''''''''''''''''''''A''N''''''T''''E'">
              <a:rPr lang="en-US" sz="14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LEFANTE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9" name="Espaço Reservado para Texto 36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078414" y="2600326"/>
            <a:ext cx="5397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Eras Medium ITC" panose="020B0602030504020804" pitchFamily="34" charset="0"/>
              </a:rPr>
              <a:t>R</a:t>
            </a:r>
            <a:r>
              <a:rPr lang="en-US" sz="1400" b="1">
                <a:latin typeface="Eras Medium ITC" panose="020B0602030504020804" pitchFamily="34" charset="0"/>
              </a:rPr>
              <a:t>$ </a:t>
            </a:r>
            <a:fld id="{67D1D2D4-884E-4C3A-90DF-B1CC1A0728AF}" type="datetime'''''''0'''',''''''''''''''3'''''''''''''''''''''''''''''''''''">
              <a:rPr lang="en-US" sz="14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3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3" name="Espaço Reservado para Texto 45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111501" y="5949951"/>
            <a:ext cx="3698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9E97D9-C042-4B74-9712-09197CC372CD}" type="datetime'L''''''''''''''''''''''''''I''''''Z''''A'''''''''''">
              <a:rPr lang="en-US" sz="14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LIZA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28" name="Espaço Reservado para Texto 35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025775" y="2600326"/>
            <a:ext cx="5397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latin typeface="Eras Medium ITC" panose="020B0602030504020804" pitchFamily="34" charset="0"/>
              </a:rPr>
              <a:t>R</a:t>
            </a:r>
            <a:r>
              <a:rPr lang="en-US" sz="1400" b="1">
                <a:latin typeface="Eras Medium ITC" panose="020B0602030504020804" pitchFamily="34" charset="0"/>
              </a:rPr>
              <a:t>$ </a:t>
            </a:r>
            <a:fld id="{5B374A14-BC65-4A3D-A606-446F951AC123}" type="datetime'''''''''0,''''''''''''''''6'''''''''''''''''''''''''''''">
              <a:rPr lang="en-US" sz="14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6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70" name="Retângulo 69"/>
          <p:cNvSpPr/>
          <p:nvPr>
            <p:custDataLst>
              <p:tags r:id="rId16"/>
            </p:custDataLst>
          </p:nvPr>
        </p:nvSpPr>
        <p:spPr bwMode="auto">
          <a:xfrm>
            <a:off x="6775451" y="6369052"/>
            <a:ext cx="250825" cy="187325"/>
          </a:xfrm>
          <a:prstGeom prst="rect">
            <a:avLst/>
          </a:prstGeom>
          <a:solidFill>
            <a:srgbClr val="007770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67" name="Retângulo 66"/>
          <p:cNvSpPr/>
          <p:nvPr>
            <p:custDataLst>
              <p:tags r:id="rId17"/>
            </p:custDataLst>
          </p:nvPr>
        </p:nvSpPr>
        <p:spPr bwMode="auto">
          <a:xfrm>
            <a:off x="2705101" y="6369052"/>
            <a:ext cx="250825" cy="1873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69" name="Retângulo 68"/>
          <p:cNvSpPr/>
          <p:nvPr>
            <p:custDataLst>
              <p:tags r:id="rId18"/>
            </p:custDataLst>
          </p:nvPr>
        </p:nvSpPr>
        <p:spPr bwMode="auto">
          <a:xfrm>
            <a:off x="5076827" y="6369052"/>
            <a:ext cx="250825" cy="187325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68" name="Retângulo 67"/>
          <p:cNvSpPr/>
          <p:nvPr>
            <p:custDataLst>
              <p:tags r:id="rId19"/>
            </p:custDataLst>
          </p:nvPr>
        </p:nvSpPr>
        <p:spPr bwMode="auto">
          <a:xfrm>
            <a:off x="4010027" y="6369052"/>
            <a:ext cx="250825" cy="18732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/>
          </a:p>
        </p:txBody>
      </p:sp>
      <p:sp>
        <p:nvSpPr>
          <p:cNvPr id="64" name="Espaço Reservado para Texto 65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378451" y="6364290"/>
            <a:ext cx="1295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0808318-A35C-44D3-BB41-494733389FB7}" type="datetime'''T''''''''''''''''''V'' ASSI''N''''''ATU''RA'''''''''''">
              <a:rPr lang="en-US" sz="14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V ASSINATURA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63" name="Espaço Reservado para Texto 64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311652" y="6364290"/>
            <a:ext cx="6635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D403E7E-C05F-4740-A726-7F5A44F606B5}" type="datetime'R''''''''E''V''''''''''''''I''''S''''''T''''''''''''A'''">
              <a:rPr lang="en-US" sz="14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VISTA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66" name="Espaço Reservado para Texto 67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077077" y="6364290"/>
            <a:ext cx="542926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6DF8D8D-DB13-447B-8A09-D9CB1C96E8A5}" type="datetime'''''''''''''''''''''R''''A''D''''''''''''''I''''O'''''''''">
              <a:rPr lang="en-US" sz="14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ADIO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65" name="Espaço Reservado para Texto 66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006726" y="6364290"/>
            <a:ext cx="9017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4FB8FB9-0F0C-47DD-86D4-38C44ADDDDB4}" type="datetime'TV'''' A''B''''E''''''''R''''''''''''''TA'''''''">
              <a:rPr lang="en-US" sz="1400" b="1">
                <a:latin typeface="Eras Medium ITC" panose="020B0602030504020804" pitchFamily="34" charset="0"/>
                <a:sym typeface="Eras Medium ITC" panose="020B06020305040208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V ABERTA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71" name="CaixaDeTexto 70"/>
          <p:cNvSpPr txBox="1"/>
          <p:nvPr/>
        </p:nvSpPr>
        <p:spPr>
          <a:xfrm>
            <a:off x="211454" y="1217427"/>
            <a:ext cx="1028128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900" dirty="0" smtClean="0"/>
              <a:t>A TV </a:t>
            </a:r>
            <a:r>
              <a:rPr lang="pt-BR" sz="1900" dirty="0"/>
              <a:t>Aberta foi o principal meio em investimento pela Cargill em 2014, </a:t>
            </a:r>
            <a:r>
              <a:rPr lang="pt-BR" sz="1900" dirty="0" smtClean="0"/>
              <a:t>apresentando </a:t>
            </a:r>
            <a:r>
              <a:rPr lang="pt-BR" sz="1900" dirty="0"/>
              <a:t>55% de participação do budget total </a:t>
            </a:r>
            <a:r>
              <a:rPr lang="pt-BR" sz="1900" dirty="0" smtClean="0"/>
              <a:t>com </a:t>
            </a:r>
            <a:r>
              <a:rPr lang="pt-BR" sz="1900" dirty="0"/>
              <a:t>os produtos POMAROLA / ELEFANTE. </a:t>
            </a:r>
          </a:p>
        </p:txBody>
      </p:sp>
      <p:sp>
        <p:nvSpPr>
          <p:cNvPr id="30" name="CaixaDeTexto 29"/>
          <p:cNvSpPr txBox="1"/>
          <p:nvPr/>
        </p:nvSpPr>
        <p:spPr>
          <a:xfrm>
            <a:off x="5939632" y="6714151"/>
            <a:ext cx="460016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</a:t>
            </a:r>
            <a:r>
              <a:rPr lang="pt-BR" sz="900" dirty="0" smtClean="0"/>
              <a:t>2014 </a:t>
            </a:r>
            <a:r>
              <a:rPr lang="pt-BR" sz="900" dirty="0"/>
              <a:t>- Valores líquidos com descontos estimados:</a:t>
            </a:r>
          </a:p>
          <a:p>
            <a:r>
              <a:rPr lang="pt-BR" sz="900" dirty="0"/>
              <a:t>Band TV: </a:t>
            </a:r>
            <a:r>
              <a:rPr lang="pt-BR" sz="900" dirty="0" smtClean="0"/>
              <a:t>77%, </a:t>
            </a:r>
            <a:r>
              <a:rPr lang="pt-BR" sz="900" dirty="0"/>
              <a:t>Globo: </a:t>
            </a:r>
            <a:r>
              <a:rPr lang="pt-BR" sz="900" dirty="0" smtClean="0"/>
              <a:t>12%, </a:t>
            </a:r>
            <a:r>
              <a:rPr lang="pt-BR" sz="900" dirty="0"/>
              <a:t>Record e SBT: </a:t>
            </a:r>
            <a:r>
              <a:rPr lang="pt-BR" sz="900" dirty="0" smtClean="0"/>
              <a:t>75%.</a:t>
            </a:r>
          </a:p>
          <a:p>
            <a:r>
              <a:rPr lang="pt-BR" sz="900" dirty="0" smtClean="0"/>
              <a:t>Rádio: 65%, Internet e TV por Assinatura: 70%, Jornal e Revista: 80%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1147394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1358125" y="2904262"/>
            <a:ext cx="797239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dirty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Cargill</a:t>
            </a:r>
          </a:p>
          <a:p>
            <a:pPr algn="ctr"/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Investimentos </a:t>
            </a:r>
            <a:r>
              <a:rPr lang="pt-BR" sz="3600" dirty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em </a:t>
            </a:r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TV Aberta</a:t>
            </a:r>
            <a:endParaRPr lang="pt-BR" sz="3600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  <a:p>
            <a:pPr algn="ctr"/>
            <a:r>
              <a:rPr lang="pt-BR" sz="3600" dirty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Base: Ibope Monitor</a:t>
            </a:r>
          </a:p>
        </p:txBody>
      </p:sp>
    </p:spTree>
    <p:extLst>
      <p:ext uri="{BB962C8B-B14F-4D97-AF65-F5344CB8AC3E}">
        <p14:creationId xmlns:p14="http://schemas.microsoft.com/office/powerpoint/2010/main" val="3234994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073228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8" name="Slide do think-cell" r:id="rId31" imgW="270" imgH="270" progId="TCLayout.ActiveDocument.1">
                  <p:embed/>
                </p:oleObj>
              </mc:Choice>
              <mc:Fallback>
                <p:oleObj name="Slide do think-cell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6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995491" y="564507"/>
            <a:ext cx="63884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/>
              <a:t>Análise dos Investimentos </a:t>
            </a:r>
            <a:r>
              <a:rPr lang="pt-BR" dirty="0" smtClean="0"/>
              <a:t>em TV Aberta</a:t>
            </a:r>
            <a:endParaRPr lang="pt-BR" dirty="0"/>
          </a:p>
        </p:txBody>
      </p:sp>
      <p:graphicFrame>
        <p:nvGraphicFramePr>
          <p:cNvPr id="23" name="Objeto 22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61278938"/>
              </p:ext>
            </p:extLst>
          </p:nvPr>
        </p:nvGraphicFramePr>
        <p:xfrm>
          <a:off x="800100" y="2400300"/>
          <a:ext cx="9086750" cy="3895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9" name="Gráfico" r:id="rId33" imgW="9086750" imgH="3895681" progId="MSGraph.Chart.8">
                  <p:embed followColorScheme="full"/>
                </p:oleObj>
              </mc:Choice>
              <mc:Fallback>
                <p:oleObj name="Gráfico" r:id="rId33" imgW="9086750" imgH="389568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800100" y="2400300"/>
                        <a:ext cx="9086750" cy="3895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1" name="Conector reto 20"/>
          <p:cNvCxnSpPr/>
          <p:nvPr>
            <p:custDataLst>
              <p:tags r:id="rId5"/>
            </p:custDataLst>
          </p:nvPr>
        </p:nvCxnSpPr>
        <p:spPr bwMode="auto">
          <a:xfrm>
            <a:off x="6853238" y="5094288"/>
            <a:ext cx="0" cy="71755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to 6"/>
          <p:cNvCxnSpPr/>
          <p:nvPr>
            <p:custDataLst>
              <p:tags r:id="rId6"/>
            </p:custDataLst>
          </p:nvPr>
        </p:nvCxnSpPr>
        <p:spPr bwMode="auto">
          <a:xfrm>
            <a:off x="8281988" y="5313363"/>
            <a:ext cx="7905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/>
          <p:cNvCxnSpPr/>
          <p:nvPr>
            <p:custDataLst>
              <p:tags r:id="rId7"/>
            </p:custDataLst>
          </p:nvPr>
        </p:nvCxnSpPr>
        <p:spPr bwMode="auto">
          <a:xfrm>
            <a:off x="4633913" y="2341563"/>
            <a:ext cx="0" cy="27178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to 18"/>
          <p:cNvCxnSpPr/>
          <p:nvPr>
            <p:custDataLst>
              <p:tags r:id="rId8"/>
            </p:custDataLst>
          </p:nvPr>
        </p:nvCxnSpPr>
        <p:spPr bwMode="auto">
          <a:xfrm flipV="1">
            <a:off x="6062663" y="5094288"/>
            <a:ext cx="0" cy="17462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to 10"/>
          <p:cNvCxnSpPr/>
          <p:nvPr>
            <p:custDataLst>
              <p:tags r:id="rId9"/>
            </p:custDataLst>
          </p:nvPr>
        </p:nvCxnSpPr>
        <p:spPr bwMode="auto">
          <a:xfrm>
            <a:off x="2414588" y="5694363"/>
            <a:ext cx="0" cy="2413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11"/>
          <p:cNvCxnSpPr/>
          <p:nvPr>
            <p:custDataLst>
              <p:tags r:id="rId10"/>
            </p:custDataLst>
          </p:nvPr>
        </p:nvCxnSpPr>
        <p:spPr bwMode="auto">
          <a:xfrm flipV="1">
            <a:off x="3843338" y="2341563"/>
            <a:ext cx="0" cy="1746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>
            <p:custDataLst>
              <p:tags r:id="rId11"/>
            </p:custDataLst>
          </p:nvPr>
        </p:nvCxnSpPr>
        <p:spPr bwMode="auto">
          <a:xfrm flipV="1">
            <a:off x="8281988" y="5313363"/>
            <a:ext cx="0" cy="1936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to 9"/>
          <p:cNvCxnSpPr/>
          <p:nvPr>
            <p:custDataLst>
              <p:tags r:id="rId12"/>
            </p:custDataLst>
          </p:nvPr>
        </p:nvCxnSpPr>
        <p:spPr bwMode="auto">
          <a:xfrm>
            <a:off x="1624013" y="5694363"/>
            <a:ext cx="7905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8"/>
          <p:cNvCxnSpPr/>
          <p:nvPr>
            <p:custDataLst>
              <p:tags r:id="rId13"/>
            </p:custDataLst>
          </p:nvPr>
        </p:nvCxnSpPr>
        <p:spPr bwMode="auto">
          <a:xfrm flipV="1">
            <a:off x="1624013" y="5694363"/>
            <a:ext cx="0" cy="1746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/>
          <p:cNvCxnSpPr/>
          <p:nvPr>
            <p:custDataLst>
              <p:tags r:id="rId14"/>
            </p:custDataLst>
          </p:nvPr>
        </p:nvCxnSpPr>
        <p:spPr bwMode="auto">
          <a:xfrm>
            <a:off x="3843338" y="2341563"/>
            <a:ext cx="7905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/>
          <p:nvPr>
            <p:custDataLst>
              <p:tags r:id="rId15"/>
            </p:custDataLst>
          </p:nvPr>
        </p:nvCxnSpPr>
        <p:spPr bwMode="auto">
          <a:xfrm>
            <a:off x="9072563" y="5313363"/>
            <a:ext cx="0" cy="5080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19"/>
          <p:cNvCxnSpPr/>
          <p:nvPr>
            <p:custDataLst>
              <p:tags r:id="rId16"/>
            </p:custDataLst>
          </p:nvPr>
        </p:nvCxnSpPr>
        <p:spPr bwMode="auto">
          <a:xfrm>
            <a:off x="6734175" y="5094288"/>
            <a:ext cx="119063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" name="Conector reto 1"/>
          <p:cNvCxnSpPr/>
          <p:nvPr>
            <p:custDataLst>
              <p:tags r:id="rId17"/>
            </p:custDataLst>
          </p:nvPr>
        </p:nvCxnSpPr>
        <p:spPr bwMode="auto">
          <a:xfrm>
            <a:off x="6062663" y="5094288"/>
            <a:ext cx="119063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Espaço Reservado para Texto 83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539163" y="6334125"/>
            <a:ext cx="276225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C1124E-9CE6-4EC2-8AB1-D9FE3532921F}" type="datetime'''''''''''''''''''''''''''S''''''''''''''''''''''B''''T'''''">
              <a:rPr lang="en-US" sz="13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SBT</a:t>
            </a:fld>
            <a:endParaRPr lang="pt-BR" sz="13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74" name="Espaço Reservado para Texto 24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132513" y="6334125"/>
            <a:ext cx="652463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6D6EC9-BAE7-44BC-92F7-EEAE1167AE71}" type="datetime'R''''E''''''C''''''O''R''''''''''''''''D'''''''''''''''">
              <a:rPr lang="en-US" sz="13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RECORD</a:t>
            </a:fld>
            <a:endParaRPr lang="pt-BR" sz="13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73" name="Espaço Reservado para Texto 23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946525" y="6334125"/>
            <a:ext cx="58420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7B302B-AB80-4905-8C18-47B16AA7CE72}" type="datetime'''''G''''''''''''''''''''L''''''''OB''''''''''''''''O'''">
              <a:rPr lang="en-US" sz="13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GLOBO</a:t>
            </a:fld>
            <a:endParaRPr lang="pt-BR" sz="13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3" name="Espaço Reservado para Texto 3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782763" y="6334125"/>
            <a:ext cx="474663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CEA291-C3F7-4E1C-9C86-811E86A3E117}" type="datetime'B''''''''''''''''''''''A''''''''N''''''''''''''D'''''''''''''">
              <a:rPr lang="en-US" sz="1300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BAND</a:t>
            </a:fld>
            <a:endParaRPr lang="pt-BR" sz="1300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46" name="Espaço Reservado para Texto 85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361363" y="5157788"/>
            <a:ext cx="631825" cy="3111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B3C3C421-C964-4324-AF1C-41775E752907}" type="datetime'''''''''''''''''''''''''-''''''''''''75%'''">
              <a:rPr lang="en-US" sz="16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75%</a:t>
            </a:fld>
            <a:endParaRPr lang="pt-BR" sz="16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89" name="Espaço Reservado para Texto 34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181725" y="4957763"/>
            <a:ext cx="552450" cy="273050"/>
          </a:xfrm>
          <a:prstGeom prst="ellipse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0F84CAF7-1FF0-4A12-9A7A-6269B7248B87}" type="datetime'''''''''''''-''''''8''1''''''%'">
              <a:rPr lang="en-US" sz="14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81%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85" name="Espaço Reservado para Texto 33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962400" y="2205038"/>
            <a:ext cx="552450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3EB34FA7-02DA-4621-ABDE-9446475296C8}" type="datetime'''''''''''''''''''''''''''-''''''7''4''%'''''''''''''''''''''">
              <a:rPr lang="en-US" sz="14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74%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82" name="Espaço Reservado para Texto 3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671638" y="5557838"/>
            <a:ext cx="696913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B82CA31F-9785-4E0C-8059-C88971A00528}" type="datetime'''''''''-''''''''''1''''''''0''''''''0''''''''%'">
              <a:rPr lang="en-US" sz="14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100%</a:t>
            </a:fld>
            <a:endParaRPr lang="pt-BR" sz="14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6" name="Retângulo 5"/>
          <p:cNvSpPr/>
          <p:nvPr>
            <p:custDataLst>
              <p:tags r:id="rId26"/>
            </p:custDataLst>
          </p:nvPr>
        </p:nvSpPr>
        <p:spPr bwMode="auto">
          <a:xfrm>
            <a:off x="1800225" y="2508251"/>
            <a:ext cx="250825" cy="187325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/>
          <p:cNvSpPr/>
          <p:nvPr>
            <p:custDataLst>
              <p:tags r:id="rId27"/>
            </p:custDataLst>
          </p:nvPr>
        </p:nvSpPr>
        <p:spPr bwMode="auto">
          <a:xfrm>
            <a:off x="965200" y="2508251"/>
            <a:ext cx="250825" cy="187325"/>
          </a:xfrm>
          <a:prstGeom prst="rect">
            <a:avLst/>
          </a:prstGeom>
          <a:solidFill>
            <a:srgbClr val="008000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7" name="Espaço Reservado para Texto 8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266825" y="2503490"/>
            <a:ext cx="4318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59E1463-EA08-4F18-902D-D2A2B4F67D8D}" type="datetime'''''''''''''''''''''''''''''''''''2''0''''''''''''13'''''">
              <a:rPr lang="en-US" sz="14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pt-BR" sz="14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58" name="Espaço Reservado para Texto 9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101850" y="2503490"/>
            <a:ext cx="4318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C32F3D-45C2-48C0-94B6-E884139D8A4C}" type="datetime'2''''''''''''''''''''''''''''0''''''''''''''1''''''''''4'">
              <a:rPr lang="en-US" sz="1400">
                <a:latin typeface="Eras Demi ITC" panose="020B0805030504020804" pitchFamily="34" charset="0"/>
                <a:sym typeface="Eras Demi ITC" panose="020B08050305040208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pt-BR" sz="1400" dirty="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63" name="CaixaDeTexto 62"/>
          <p:cNvSpPr txBox="1"/>
          <p:nvPr/>
        </p:nvSpPr>
        <p:spPr>
          <a:xfrm>
            <a:off x="193040" y="1209905"/>
            <a:ext cx="1035685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900" dirty="0" smtClean="0"/>
              <a:t>A Cargill reduziu os investimentos com todas as emissoras de TV Aberta, porém, apenas a Band não foi programada em 2014.</a:t>
            </a:r>
            <a:endParaRPr lang="pt-BR" sz="1900" dirty="0"/>
          </a:p>
        </p:txBody>
      </p:sp>
      <p:sp>
        <p:nvSpPr>
          <p:cNvPr id="64" name="CaixaDeTexto 63"/>
          <p:cNvSpPr txBox="1"/>
          <p:nvPr/>
        </p:nvSpPr>
        <p:spPr>
          <a:xfrm>
            <a:off x="5939632" y="6823335"/>
            <a:ext cx="460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 2013 e 2014 - Valores líquidos com descontos estimados:</a:t>
            </a:r>
          </a:p>
          <a:p>
            <a:r>
              <a:rPr lang="pt-BR" sz="900" dirty="0"/>
              <a:t>Band TV: </a:t>
            </a:r>
            <a:r>
              <a:rPr lang="pt-BR" sz="900" dirty="0" smtClean="0"/>
              <a:t>77%, </a:t>
            </a:r>
            <a:r>
              <a:rPr lang="pt-BR" sz="900" dirty="0"/>
              <a:t>Globo: </a:t>
            </a:r>
            <a:r>
              <a:rPr lang="pt-BR" sz="900" dirty="0" smtClean="0"/>
              <a:t>12%, </a:t>
            </a:r>
            <a:r>
              <a:rPr lang="pt-BR" sz="900" dirty="0"/>
              <a:t>Record e SBT: </a:t>
            </a:r>
            <a:r>
              <a:rPr lang="pt-BR" sz="900" dirty="0" smtClean="0"/>
              <a:t>75%.</a:t>
            </a:r>
          </a:p>
        </p:txBody>
      </p:sp>
      <p:graphicFrame>
        <p:nvGraphicFramePr>
          <p:cNvPr id="24" name="Diagrama 23"/>
          <p:cNvGraphicFramePr/>
          <p:nvPr>
            <p:extLst>
              <p:ext uri="{D42A27DB-BD31-4B8C-83A1-F6EECF244321}">
                <p14:modId xmlns:p14="http://schemas.microsoft.com/office/powerpoint/2010/main" val="2622915936"/>
              </p:ext>
            </p:extLst>
          </p:nvPr>
        </p:nvGraphicFramePr>
        <p:xfrm>
          <a:off x="6952719" y="2205038"/>
          <a:ext cx="2817287" cy="16933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5" r:lo="rId36" r:qs="rId37" r:cs="rId38"/>
          </a:graphicData>
        </a:graphic>
      </p:graphicFrame>
    </p:spTree>
    <p:extLst>
      <p:ext uri="{BB962C8B-B14F-4D97-AF65-F5344CB8AC3E}">
        <p14:creationId xmlns:p14="http://schemas.microsoft.com/office/powerpoint/2010/main" val="281193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2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3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067952" y="564507"/>
            <a:ext cx="63159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/>
              <a:t>Análise Share das Emissoras de TV Abert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211454" y="1206414"/>
            <a:ext cx="1028128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900" dirty="0"/>
              <a:t>A Cargill concentrou 79% dos investimentos de TV Aberta em 2014 na TV Globo, apresentando Share de Investimento muito superior ao Share de Audiência da emissora. </a:t>
            </a:r>
          </a:p>
        </p:txBody>
      </p:sp>
      <p:graphicFrame>
        <p:nvGraphicFramePr>
          <p:cNvPr id="9" name="Gráfico 8"/>
          <p:cNvGraphicFramePr/>
          <p:nvPr>
            <p:extLst>
              <p:ext uri="{D42A27DB-BD31-4B8C-83A1-F6EECF244321}">
                <p14:modId xmlns:p14="http://schemas.microsoft.com/office/powerpoint/2010/main" val="3778481857"/>
              </p:ext>
            </p:extLst>
          </p:nvPr>
        </p:nvGraphicFramePr>
        <p:xfrm>
          <a:off x="691533" y="2339429"/>
          <a:ext cx="9307159" cy="4036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CaixaDeTexto 9"/>
          <p:cNvSpPr txBox="1"/>
          <p:nvPr/>
        </p:nvSpPr>
        <p:spPr>
          <a:xfrm>
            <a:off x="7239647" y="2604267"/>
            <a:ext cx="26161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u="sng" dirty="0">
                <a:latin typeface="Eras Demi ITC" panose="020B0805030504020804" pitchFamily="34" charset="0"/>
              </a:rPr>
              <a:t>2014 (Janeiro a Dezembro)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5841242" y="6567175"/>
            <a:ext cx="48473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2014 - Valores líquidos com descontos estimados:</a:t>
            </a:r>
          </a:p>
          <a:p>
            <a:r>
              <a:rPr lang="pt-BR" sz="900" dirty="0"/>
              <a:t>Globo: 12%, Record e SBT: 75.</a:t>
            </a:r>
          </a:p>
          <a:p>
            <a:r>
              <a:rPr lang="pt-BR" sz="900" dirty="0"/>
              <a:t>Fonte: Ibope Media Workstation – PNT – 2014 – Share de Audiência </a:t>
            </a:r>
          </a:p>
          <a:p>
            <a:r>
              <a:rPr lang="pt-BR" sz="900" dirty="0"/>
              <a:t>Domiciliar – Total </a:t>
            </a:r>
            <a:r>
              <a:rPr lang="pt-BR" sz="900" dirty="0" smtClean="0"/>
              <a:t>Ligados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2564536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1358125" y="2904262"/>
            <a:ext cx="797239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dirty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Cargill</a:t>
            </a:r>
          </a:p>
          <a:p>
            <a:pPr algn="ctr"/>
            <a:r>
              <a:rPr lang="pt-BR" sz="36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Detalhamento Outros Meios</a:t>
            </a:r>
            <a:endParaRPr lang="pt-BR" sz="3600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  <a:p>
            <a:pPr algn="ctr"/>
            <a:r>
              <a:rPr lang="pt-BR" sz="3600" dirty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Base: Ibope Monitor</a:t>
            </a:r>
          </a:p>
        </p:txBody>
      </p:sp>
    </p:spTree>
    <p:extLst>
      <p:ext uri="{BB962C8B-B14F-4D97-AF65-F5344CB8AC3E}">
        <p14:creationId xmlns:p14="http://schemas.microsoft.com/office/powerpoint/2010/main" val="426802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3&quot;&gt;&lt;elem m_fUsage=&quot;3.43488690000000000000E+000&quot;&gt;&lt;m_msothmcolidx val=&quot;0&quot;/&gt;&lt;m_rgb r=&quot;0&quot; g=&quot;80&quot; b=&quot;0&quot;/&gt;&lt;m_ppcolschidx tagver0=&quot;23004&quot; tagname0=&quot;m_ppcolschidxUNRECOGNIZED&quot; val=&quot;0&quot;/&gt;&lt;m_nBrightness val=&quot;0&quot;/&gt;&lt;/elem&gt;&lt;elem m_fUsage=&quot;1.72900000000000010000E+000&quot;&gt;&lt;m_msothmcolidx val=&quot;0&quot;/&gt;&lt;m_rgb r=&quot;4&quot; g=&quot;62&quot; b=&quot;12&quot;/&gt;&lt;m_ppcolschidx tagver0=&quot;23004&quot; tagname0=&quot;m_ppcolschidxUNRECOGNIZED&quot; val=&quot;0&quot;/&gt;&lt;m_nBrightness val=&quot;0&quot;/&gt;&lt;/elem&gt;&lt;elem m_fUsage=&quot;5.31441000000000160000E-001&quot;&gt;&lt;m_msothmcolidx val=&quot;0&quot;/&gt;&lt;m_rgb r=&quot;56&quot; g=&quot;20&quot; b=&quot;1f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xEbotsg02Aba6JCONVS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3kFx3d7EqGRHki4keCN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iDWo0kMk2L7IaleI9F1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bQSzy8WUmjTPmimj.If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B1VPXsq0Kl6Fo6OWyjS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BuUqMSGUqMdyHQdfDaS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AmXXRYAUy97yVRlTAzo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o0fahapki4.9erlriUF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sXLiQ.BEuii4b4WWfBx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qX7oGevEOmDkOq2dYD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7uFcmY80SEK8rFnZGGr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91.eB6rESUpag8h4TF0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SBv.t8XkeP5rA_46ZcZ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1pA.iurEmABb2vXGKtq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mlwmOESUyjohhqa9FEh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wJY7EDv0eW4.6zdTWSk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iIVZRg0ESeOH30dlXFN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fZxkSZBU271A882x9W1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GCUeuw6k6KybOsWTIwM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VC47NX.0GTRef9vx8Xk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23cUp46EeGOgpvinzr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i1ewN0wEKXswn4CwNSh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1AFfxDJEWIW58o7CsvH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5Mq4R4Y0mdo5_OjCWu2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ylKepW9UO0n6fT92VC6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nAn062skKoQDiEP97M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Ltjp6o1kaWCUOLIvV8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28smBy8UKRfo.xnKb7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wvnbRAPkm4j0gLeU2OE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iHiqFupkSrHNp.XJedM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P0hUZqfEC0IG.LlXL2T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2.QS3beU.4J.BLHNsj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qxxu3nOECe.dikWbaSy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0kjkwc00CpCnObGkuWj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8uJuiH_02duTu7ElNCX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CGqirBJ0KChmdiV_PW.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MnQnYmKUecOkfcYwbdE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mBNZXzmkiprxdDrXRDd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S81DSddEKcV5v9rAv3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sCRwJjm0iDiumyGauH.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vMQdYCkE24qJql3_yZ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5fNrFmHke8lEo97p3a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5Q91u0mEeo7DhwNV6HC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STfp57rEWc4zQ7GJClt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h1_eL6XECE0q.uX5Cr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nFMhZb70.7D_N0kuk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fG_AlAaEqaI6qNHq93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SgL.lxfkKztvzIg_WhA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eq6rmr.UaOMUx_WinH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NErbzLtkOOlr3r6hhyL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FN4nBL20yT4x_2rCUTe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trjdhotEGeV3MiATNq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s1mYBvA02aOi5TdimHH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fnon.itkG9oMRXDMV7W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54tCXV0kWHDNtLjOyDO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FaI5uyeU6dCiuQorsx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n1yMpMk02KSTeEwSYMY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rWt2Q8xkGz13PG6OFy9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NWMY8cZkiT5I4gKW88r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kTHAUnGEi.pICzEyGrN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nc9iZeJECtjP7Em2hpa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sKFhFovUqrlPp1oTxZw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38hSJij0ad4IddIMVTN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LAHpbJ40yh5giiJ7dUR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jPpjAiFUSZhuL1DibYQ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0TYn_R1E.dYISPLE74q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rI6lH9p0yhE4dpJt5sR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M_WDnOFUKQEr5B4U4K6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76xQdQmUmlEdxWvVTXk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oy_7ykrk2WDXjz5WxPp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9cPa.sHkmX_j_rGfsqk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MmvesFe0SlDqfDolRNy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GmmjDdp0KrF1yHA.TO7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AGz3qR7EC.BrE7iYnkS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gSASw1fE6b0aKGXnxYX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apRk5oDUOxU7r7I0xTc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1.WRcNEEKmlgDUKARCR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T3f6kOKEqS4cSoA.H_V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Q9lFF6rE2llEZF74ml3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drHzHJo0ajeS3CfIxgX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76xQdQmUmlEdxWvVTXk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2.QS3beU.4J.BLHNsjb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xEbotsg02Aba6JCONVS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8uJuiH_02duTu7ElNCX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P0hUZqfEC0IG.LlXL2T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28smBy8UKRfo.xnKb7V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wvnbRAPkm4j0gLeU2OE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TE7OmA0kuZe0Z4I4Np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TE7OmA0kuZe0Z4I4Npa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iHiqFupkSrHNp.XJedM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Ltjp6o1kaWCUOLIvV8r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mBNZXzmkiprxdDrXRDd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S81DSddEKcV5v9rAv3o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4Ed8uZb0CnEMjtdhYQo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KV_vZTVkO4ZFniN_dpH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sCRwJjm0iDiumyGauH.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vMQdYCkE24qJql3_yZy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SgL.lxfkKztvzIg_WhA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5Q91u0mEeo7DhwNV6H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XDxwfnm0u4P2kbnemdg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nFMhZb70.7D_N0kukXo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NErbzLtkOOlr3r6hhyL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trjdhotEGeV3MiATNqb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s1mYBvA02aOi5TdimHH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FaI5uyeU6dCiuQorsxK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54tCXV0kWHDNtLjOyDO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rWt2Q8xkGz13PG6OFy9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n1yMpMk02KSTeEwSYMY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heme/theme1.xml><?xml version="1.0" encoding="utf-8"?>
<a:theme xmlns:a="http://schemas.openxmlformats.org/drawingml/2006/main" name="Office Theme">
  <a:themeElements>
    <a:clrScheme name="Concurso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99</TotalTime>
  <Words>576</Words>
  <Application>Microsoft Office PowerPoint</Application>
  <PresentationFormat>Personalizar</PresentationFormat>
  <Paragraphs>113</Paragraphs>
  <Slides>10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10</vt:i4>
      </vt:variant>
    </vt:vector>
  </HeadingPairs>
  <TitlesOfParts>
    <vt:vector size="18" baseType="lpstr">
      <vt:lpstr>MS PGothic</vt:lpstr>
      <vt:lpstr>Arial</vt:lpstr>
      <vt:lpstr>Calibri</vt:lpstr>
      <vt:lpstr>Eras Demi ITC</vt:lpstr>
      <vt:lpstr>Eras Medium ITC</vt:lpstr>
      <vt:lpstr>Office Theme</vt:lpstr>
      <vt:lpstr>Slide do think-cell</vt:lpstr>
      <vt:lpstr>Gráfic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ássio Soares</dc:creator>
  <cp:lastModifiedBy>Cassio Soares</cp:lastModifiedBy>
  <cp:revision>184</cp:revision>
  <dcterms:created xsi:type="dcterms:W3CDTF">2014-04-01T20:14:56Z</dcterms:created>
  <dcterms:modified xsi:type="dcterms:W3CDTF">2015-03-24T00:43:48Z</dcterms:modified>
</cp:coreProperties>
</file>